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embeddings/oleObject3.bin" ContentType="application/vnd.openxmlformats-officedocument.oleObject"/>
  <Override PartName="/ppt/embeddings/oleObject30.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media/image92.svg" ContentType="image/svg+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137"/>
  </p:notesMasterIdLst>
  <p:sldIdLst>
    <p:sldId id="2147476952" r:id="rId6"/>
    <p:sldId id="2147476953" r:id="rId7"/>
    <p:sldId id="2147476954" r:id="rId8"/>
    <p:sldId id="2147476955" r:id="rId9"/>
    <p:sldId id="2147476956" r:id="rId10"/>
    <p:sldId id="2147476957" r:id="rId11"/>
    <p:sldId id="2147476958" r:id="rId12"/>
    <p:sldId id="2147476959" r:id="rId13"/>
    <p:sldId id="2147476960" r:id="rId14"/>
    <p:sldId id="2147476961" r:id="rId15"/>
    <p:sldId id="2147476962" r:id="rId16"/>
    <p:sldId id="2147476963" r:id="rId17"/>
    <p:sldId id="2147476964" r:id="rId18"/>
    <p:sldId id="2147476965" r:id="rId19"/>
    <p:sldId id="2147476966" r:id="rId20"/>
    <p:sldId id="2147476967" r:id="rId21"/>
    <p:sldId id="2147476968" r:id="rId22"/>
    <p:sldId id="2147476969" r:id="rId23"/>
    <p:sldId id="2147476970" r:id="rId24"/>
    <p:sldId id="2147476971" r:id="rId25"/>
    <p:sldId id="2147476972" r:id="rId26"/>
    <p:sldId id="2147476973" r:id="rId27"/>
    <p:sldId id="2147476974" r:id="rId28"/>
    <p:sldId id="2147476975" r:id="rId29"/>
    <p:sldId id="2147476976" r:id="rId30"/>
    <p:sldId id="2147476977" r:id="rId31"/>
    <p:sldId id="2147476978" r:id="rId32"/>
    <p:sldId id="2147476979" r:id="rId33"/>
    <p:sldId id="2147476980" r:id="rId34"/>
    <p:sldId id="2147476981" r:id="rId35"/>
    <p:sldId id="2147476982" r:id="rId36"/>
    <p:sldId id="2147476983" r:id="rId37"/>
    <p:sldId id="2147476984" r:id="rId38"/>
    <p:sldId id="2147476985" r:id="rId39"/>
    <p:sldId id="2147476986" r:id="rId40"/>
    <p:sldId id="2147476987" r:id="rId41"/>
    <p:sldId id="2147476988" r:id="rId42"/>
    <p:sldId id="2147476989" r:id="rId43"/>
    <p:sldId id="2147476990" r:id="rId44"/>
    <p:sldId id="2147476991" r:id="rId45"/>
    <p:sldId id="2147476992" r:id="rId46"/>
    <p:sldId id="2147476993" r:id="rId47"/>
    <p:sldId id="2147476994" r:id="rId48"/>
    <p:sldId id="2147476995" r:id="rId49"/>
    <p:sldId id="2147476996" r:id="rId50"/>
    <p:sldId id="2147476997" r:id="rId51"/>
    <p:sldId id="2147476998" r:id="rId52"/>
    <p:sldId id="2147476999" r:id="rId53"/>
    <p:sldId id="2147477000" r:id="rId54"/>
    <p:sldId id="2147477001" r:id="rId55"/>
    <p:sldId id="2147477002" r:id="rId56"/>
    <p:sldId id="2147477003" r:id="rId57"/>
    <p:sldId id="2147477004" r:id="rId58"/>
    <p:sldId id="2147477005" r:id="rId59"/>
    <p:sldId id="2147477006" r:id="rId60"/>
    <p:sldId id="2147477007" r:id="rId61"/>
    <p:sldId id="2147477008" r:id="rId62"/>
    <p:sldId id="2147477009" r:id="rId63"/>
    <p:sldId id="2147477010" r:id="rId64"/>
    <p:sldId id="2147477011" r:id="rId65"/>
    <p:sldId id="2147477012" r:id="rId66"/>
    <p:sldId id="2147477013" r:id="rId67"/>
    <p:sldId id="2147477014" r:id="rId68"/>
    <p:sldId id="2147477015" r:id="rId69"/>
    <p:sldId id="2147477016" r:id="rId70"/>
    <p:sldId id="2147477017" r:id="rId71"/>
    <p:sldId id="2147477018" r:id="rId72"/>
    <p:sldId id="2147477019" r:id="rId73"/>
    <p:sldId id="2147477020" r:id="rId74"/>
    <p:sldId id="2147477021" r:id="rId75"/>
    <p:sldId id="2147477022" r:id="rId76"/>
    <p:sldId id="2147477023" r:id="rId77"/>
    <p:sldId id="2147477024" r:id="rId78"/>
    <p:sldId id="2147477025" r:id="rId79"/>
    <p:sldId id="2147477026" r:id="rId80"/>
    <p:sldId id="2147477027" r:id="rId81"/>
    <p:sldId id="2147477028" r:id="rId82"/>
    <p:sldId id="2147477029" r:id="rId83"/>
    <p:sldId id="2147477030" r:id="rId84"/>
    <p:sldId id="2147477031" r:id="rId85"/>
    <p:sldId id="2147477032" r:id="rId86"/>
    <p:sldId id="2147477033" r:id="rId87"/>
    <p:sldId id="2147477034" r:id="rId88"/>
    <p:sldId id="2147477035" r:id="rId89"/>
    <p:sldId id="2147477036" r:id="rId90"/>
    <p:sldId id="2147477037" r:id="rId91"/>
    <p:sldId id="2147477038" r:id="rId92"/>
    <p:sldId id="2147477039" r:id="rId93"/>
    <p:sldId id="2147477040" r:id="rId94"/>
    <p:sldId id="2147477041" r:id="rId95"/>
    <p:sldId id="2147477042" r:id="rId96"/>
    <p:sldId id="2147477043" r:id="rId97"/>
    <p:sldId id="2147477044" r:id="rId98"/>
    <p:sldId id="2147477045" r:id="rId99"/>
    <p:sldId id="2147477046" r:id="rId100"/>
    <p:sldId id="2147477047" r:id="rId101"/>
    <p:sldId id="2147477048" r:id="rId102"/>
    <p:sldId id="2147477049" r:id="rId103"/>
    <p:sldId id="2147477050" r:id="rId104"/>
    <p:sldId id="2147477051" r:id="rId105"/>
    <p:sldId id="2147477052" r:id="rId106"/>
    <p:sldId id="2147477053" r:id="rId107"/>
    <p:sldId id="2147477054" r:id="rId108"/>
    <p:sldId id="2147477055" r:id="rId109"/>
    <p:sldId id="2147477056" r:id="rId110"/>
    <p:sldId id="2147477057" r:id="rId111"/>
    <p:sldId id="2147477058" r:id="rId112"/>
    <p:sldId id="2147477059" r:id="rId113"/>
    <p:sldId id="2147477060" r:id="rId114"/>
    <p:sldId id="2147477061" r:id="rId115"/>
    <p:sldId id="2147477062" r:id="rId116"/>
    <p:sldId id="2147477063" r:id="rId117"/>
    <p:sldId id="2147477064" r:id="rId118"/>
    <p:sldId id="2147477065" r:id="rId119"/>
    <p:sldId id="2147477066" r:id="rId120"/>
    <p:sldId id="2147477067" r:id="rId121"/>
    <p:sldId id="2147477068" r:id="rId122"/>
    <p:sldId id="2147477069" r:id="rId123"/>
    <p:sldId id="2147477070" r:id="rId124"/>
    <p:sldId id="2147477071" r:id="rId125"/>
    <p:sldId id="2147477072" r:id="rId126"/>
    <p:sldId id="2147477073" r:id="rId127"/>
    <p:sldId id="2147477074" r:id="rId128"/>
    <p:sldId id="2147477075" r:id="rId129"/>
    <p:sldId id="2147477076" r:id="rId130"/>
    <p:sldId id="2147477077" r:id="rId131"/>
    <p:sldId id="2147477078" r:id="rId132"/>
    <p:sldId id="2147477079" r:id="rId133"/>
    <p:sldId id="2147477080" r:id="rId134"/>
    <p:sldId id="2147477081" r:id="rId135"/>
    <p:sldId id="2147477082" r:id="rId13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Elasticity" id="{D33DD90E-D3B3-48A3-B58A-D6EBF592E7CA}">
          <p14:sldIdLst>
            <p14:sldId id="2147476952"/>
            <p14:sldId id="2147476953"/>
            <p14:sldId id="2147476954"/>
            <p14:sldId id="2147476955"/>
          </p14:sldIdLst>
        </p14:section>
        <p14:section name="Brand Sourcing Analysis" id="{7A5B5260-E294-4B93-938E-C50B9C4DD38C}">
          <p14:sldIdLst>
            <p14:sldId id="2147476956"/>
            <p14:sldId id="2147476957"/>
            <p14:sldId id="2147476958"/>
            <p14:sldId id="2147476959"/>
            <p14:sldId id="2147476960"/>
            <p14:sldId id="2147476961"/>
            <p14:sldId id="2147476962"/>
          </p14:sldIdLst>
        </p14:section>
        <p14:section name="Product Sourcing Analysis" id="{4BB930C4-3A41-411B-BB64-96B74885A242}">
          <p14:sldIdLst>
            <p14:sldId id="2147476963"/>
            <p14:sldId id="2147476964"/>
            <p14:sldId id="2147476965"/>
            <p14:sldId id="2147476966"/>
            <p14:sldId id="2147476967"/>
            <p14:sldId id="2147476968"/>
            <p14:sldId id="2147476969"/>
            <p14:sldId id="2147476970"/>
            <p14:sldId id="2147476971"/>
            <p14:sldId id="2147476972"/>
            <p14:sldId id="2147476973"/>
            <p14:sldId id="2147476974"/>
            <p14:sldId id="2147476975"/>
            <p14:sldId id="2147476976"/>
            <p14:sldId id="2147476977"/>
            <p14:sldId id="2147476978"/>
            <p14:sldId id="2147476979"/>
            <p14:sldId id="2147476980"/>
            <p14:sldId id="2147476981"/>
            <p14:sldId id="2147476982"/>
            <p14:sldId id="2147476983"/>
            <p14:sldId id="2147476984"/>
            <p14:sldId id="2147476985"/>
            <p14:sldId id="2147476986"/>
            <p14:sldId id="2147476987"/>
            <p14:sldId id="2147476988"/>
            <p14:sldId id="2147476989"/>
            <p14:sldId id="2147476990"/>
            <p14:sldId id="2147476991"/>
            <p14:sldId id="2147476992"/>
            <p14:sldId id="2147476993"/>
            <p14:sldId id="2147476994"/>
            <p14:sldId id="2147476995"/>
            <p14:sldId id="2147476996"/>
            <p14:sldId id="2147476997"/>
            <p14:sldId id="2147476998"/>
            <p14:sldId id="2147476999"/>
            <p14:sldId id="2147477000"/>
            <p14:sldId id="2147477001"/>
            <p14:sldId id="2147477002"/>
            <p14:sldId id="2147477003"/>
            <p14:sldId id="2147477004"/>
            <p14:sldId id="2147477005"/>
            <p14:sldId id="2147477006"/>
            <p14:sldId id="2147477007"/>
            <p14:sldId id="2147477008"/>
            <p14:sldId id="2147477009"/>
            <p14:sldId id="2147477010"/>
          </p14:sldIdLst>
        </p14:section>
        <p14:section name="Price Elasticity Curve" id="{BDB25C84-5737-4F00-8ACD-9CC67464B890}">
          <p14:sldIdLst>
            <p14:sldId id="2147477011"/>
            <p14:sldId id="2147477012"/>
            <p14:sldId id="2147477013"/>
            <p14:sldId id="2147477014"/>
            <p14:sldId id="2147477015"/>
            <p14:sldId id="2147477016"/>
            <p14:sldId id="2147477017"/>
            <p14:sldId id="2147477018"/>
            <p14:sldId id="2147477019"/>
            <p14:sldId id="2147477020"/>
            <p14:sldId id="2147477021"/>
            <p14:sldId id="2147477022"/>
            <p14:sldId id="2147477023"/>
            <p14:sldId id="2147477024"/>
            <p14:sldId id="2147477025"/>
            <p14:sldId id="2147477026"/>
            <p14:sldId id="2147477027"/>
            <p14:sldId id="2147477028"/>
            <p14:sldId id="2147477029"/>
          </p14:sldIdLst>
        </p14:section>
        <p14:section name="Revenue Response Analysis" id="{B00140EC-A357-4487-8675-F13E2F9D686E}">
          <p14:sldIdLst>
            <p14:sldId id="2147477030"/>
            <p14:sldId id="2147477031"/>
            <p14:sldId id="2147477032"/>
            <p14:sldId id="2147477033"/>
            <p14:sldId id="2147477034"/>
            <p14:sldId id="2147477035"/>
            <p14:sldId id="2147477036"/>
            <p14:sldId id="2147477037"/>
            <p14:sldId id="2147477038"/>
            <p14:sldId id="2147477039"/>
            <p14:sldId id="2147477040"/>
            <p14:sldId id="2147477041"/>
            <p14:sldId id="2147477042"/>
            <p14:sldId id="2147477043"/>
            <p14:sldId id="2147477044"/>
            <p14:sldId id="2147477045"/>
            <p14:sldId id="2147477046"/>
            <p14:sldId id="2147477047"/>
            <p14:sldId id="2147477048"/>
            <p14:sldId id="2147477049"/>
            <p14:sldId id="2147477050"/>
            <p14:sldId id="2147477051"/>
            <p14:sldId id="2147477052"/>
            <p14:sldId id="2147477053"/>
            <p14:sldId id="2147477054"/>
            <p14:sldId id="2147477055"/>
            <p14:sldId id="2147477056"/>
            <p14:sldId id="2147477057"/>
            <p14:sldId id="2147477058"/>
            <p14:sldId id="2147477059"/>
            <p14:sldId id="2147477060"/>
            <p14:sldId id="2147477061"/>
            <p14:sldId id="2147477062"/>
            <p14:sldId id="2147477063"/>
            <p14:sldId id="2147477064"/>
            <p14:sldId id="2147477065"/>
            <p14:sldId id="2147477066"/>
            <p14:sldId id="2147477067"/>
            <p14:sldId id="2147477068"/>
            <p14:sldId id="2147477069"/>
            <p14:sldId id="2147477070"/>
            <p14:sldId id="2147477071"/>
            <p14:sldId id="2147477072"/>
            <p14:sldId id="2147477073"/>
            <p14:sldId id="2147477074"/>
            <p14:sldId id="2147477075"/>
            <p14:sldId id="2147477076"/>
            <p14:sldId id="2147477077"/>
          </p14:sldIdLst>
        </p14:section>
        <p14:section name="Size Elasticity" id="{341BADD0-7AAF-46D2-A722-F8C8C63732BE}">
          <p14:sldIdLst>
            <p14:sldId id="2147477078"/>
            <p14:sldId id="2147477079"/>
            <p14:sldId id="2147477080"/>
            <p14:sldId id="2147477081"/>
            <p14:sldId id="2147477082"/>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507994-2260-4228-8F7F-A5AC99A893E1}" v="11" dt="2024-11-01T08:56:2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0" d="100"/>
          <a:sy n="10" d="100"/>
        </p:scale>
        <p:origin x="2" y="0"/>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9" Type="http://schemas.openxmlformats.org/officeDocument/2006/relationships/slide" Target="slides/slide4.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slide" Target="slides/slide21.xml"/><Relationship Id="rId27" Type="http://schemas.openxmlformats.org/officeDocument/2006/relationships/slide" Target="slides/slide22.xml"/><Relationship Id="rId28" Type="http://schemas.openxmlformats.org/officeDocument/2006/relationships/slide" Target="slides/slide23.xml"/><Relationship Id="rId29" Type="http://schemas.openxmlformats.org/officeDocument/2006/relationships/slide" Target="slides/slide24.xml"/><Relationship Id="rId30" Type="http://schemas.openxmlformats.org/officeDocument/2006/relationships/slide" Target="slides/slide25.xml"/><Relationship Id="rId31" Type="http://schemas.openxmlformats.org/officeDocument/2006/relationships/slide" Target="slides/slide26.xml"/><Relationship Id="rId32" Type="http://schemas.openxmlformats.org/officeDocument/2006/relationships/slide" Target="slides/slide27.xml"/><Relationship Id="rId33" Type="http://schemas.openxmlformats.org/officeDocument/2006/relationships/slide" Target="slides/slide28.xml"/><Relationship Id="rId34" Type="http://schemas.openxmlformats.org/officeDocument/2006/relationships/slide" Target="slides/slide29.xml"/><Relationship Id="rId35" Type="http://schemas.openxmlformats.org/officeDocument/2006/relationships/slide" Target="slides/slide30.xml"/><Relationship Id="rId36" Type="http://schemas.openxmlformats.org/officeDocument/2006/relationships/slide" Target="slides/slide31.xml"/><Relationship Id="rId37" Type="http://schemas.openxmlformats.org/officeDocument/2006/relationships/slide" Target="slides/slide32.xml"/><Relationship Id="rId38" Type="http://schemas.openxmlformats.org/officeDocument/2006/relationships/slide" Target="slides/slide33.xml"/><Relationship Id="rId39" Type="http://schemas.openxmlformats.org/officeDocument/2006/relationships/slide" Target="slides/slide34.xml"/><Relationship Id="rId40" Type="http://schemas.openxmlformats.org/officeDocument/2006/relationships/slide" Target="slides/slide35.xml"/><Relationship Id="rId41" Type="http://schemas.openxmlformats.org/officeDocument/2006/relationships/slide" Target="slides/slide36.xml"/><Relationship Id="rId42" Type="http://schemas.openxmlformats.org/officeDocument/2006/relationships/slide" Target="slides/slide37.xml"/><Relationship Id="rId43" Type="http://schemas.openxmlformats.org/officeDocument/2006/relationships/slide" Target="slides/slide38.xml"/><Relationship Id="rId44" Type="http://schemas.openxmlformats.org/officeDocument/2006/relationships/slide" Target="slides/slide39.xml"/><Relationship Id="rId45" Type="http://schemas.openxmlformats.org/officeDocument/2006/relationships/slide" Target="slides/slide40.xml"/><Relationship Id="rId46" Type="http://schemas.openxmlformats.org/officeDocument/2006/relationships/slide" Target="slides/slide41.xml"/><Relationship Id="rId47" Type="http://schemas.openxmlformats.org/officeDocument/2006/relationships/slide" Target="slides/slide42.xml"/><Relationship Id="rId48" Type="http://schemas.openxmlformats.org/officeDocument/2006/relationships/slide" Target="slides/slide43.xml"/><Relationship Id="rId49" Type="http://schemas.openxmlformats.org/officeDocument/2006/relationships/slide" Target="slides/slide44.xml"/><Relationship Id="rId50" Type="http://schemas.openxmlformats.org/officeDocument/2006/relationships/slide" Target="slides/slide45.xml"/><Relationship Id="rId51" Type="http://schemas.openxmlformats.org/officeDocument/2006/relationships/slide" Target="slides/slide46.xml"/><Relationship Id="rId52" Type="http://schemas.openxmlformats.org/officeDocument/2006/relationships/slide" Target="slides/slide47.xml"/><Relationship Id="rId53" Type="http://schemas.openxmlformats.org/officeDocument/2006/relationships/slide" Target="slides/slide48.xml"/><Relationship Id="rId54" Type="http://schemas.openxmlformats.org/officeDocument/2006/relationships/slide" Target="slides/slide49.xml"/><Relationship Id="rId55" Type="http://schemas.openxmlformats.org/officeDocument/2006/relationships/slide" Target="slides/slide50.xml"/><Relationship Id="rId56" Type="http://schemas.openxmlformats.org/officeDocument/2006/relationships/slide" Target="slides/slide51.xml"/><Relationship Id="rId57" Type="http://schemas.openxmlformats.org/officeDocument/2006/relationships/slide" Target="slides/slide52.xml"/><Relationship Id="rId58" Type="http://schemas.openxmlformats.org/officeDocument/2006/relationships/slide" Target="slides/slide53.xml"/><Relationship Id="rId59" Type="http://schemas.openxmlformats.org/officeDocument/2006/relationships/slide" Target="slides/slide54.xml"/><Relationship Id="rId60" Type="http://schemas.openxmlformats.org/officeDocument/2006/relationships/slide" Target="slides/slide55.xml"/><Relationship Id="rId61" Type="http://schemas.openxmlformats.org/officeDocument/2006/relationships/slide" Target="slides/slide56.xml"/><Relationship Id="rId62" Type="http://schemas.openxmlformats.org/officeDocument/2006/relationships/slide" Target="slides/slide57.xml"/><Relationship Id="rId63" Type="http://schemas.openxmlformats.org/officeDocument/2006/relationships/slide" Target="slides/slide58.xml"/><Relationship Id="rId64" Type="http://schemas.openxmlformats.org/officeDocument/2006/relationships/slide" Target="slides/slide59.xml"/><Relationship Id="rId65" Type="http://schemas.openxmlformats.org/officeDocument/2006/relationships/slide" Target="slides/slide60.xml"/><Relationship Id="rId66" Type="http://schemas.openxmlformats.org/officeDocument/2006/relationships/slide" Target="slides/slide61.xml"/><Relationship Id="rId67" Type="http://schemas.openxmlformats.org/officeDocument/2006/relationships/slide" Target="slides/slide62.xml"/><Relationship Id="rId68" Type="http://schemas.openxmlformats.org/officeDocument/2006/relationships/slide" Target="slides/slide63.xml"/><Relationship Id="rId69" Type="http://schemas.openxmlformats.org/officeDocument/2006/relationships/slide" Target="slides/slide64.xml"/><Relationship Id="rId70" Type="http://schemas.openxmlformats.org/officeDocument/2006/relationships/slide" Target="slides/slide65.xml"/><Relationship Id="rId71" Type="http://schemas.openxmlformats.org/officeDocument/2006/relationships/slide" Target="slides/slide66.xml"/><Relationship Id="rId72" Type="http://schemas.openxmlformats.org/officeDocument/2006/relationships/slide" Target="slides/slide67.xml"/><Relationship Id="rId73" Type="http://schemas.openxmlformats.org/officeDocument/2006/relationships/slide" Target="slides/slide68.xml"/><Relationship Id="rId74" Type="http://schemas.openxmlformats.org/officeDocument/2006/relationships/slide" Target="slides/slide69.xml"/><Relationship Id="rId75" Type="http://schemas.openxmlformats.org/officeDocument/2006/relationships/slide" Target="slides/slide70.xml"/><Relationship Id="rId76" Type="http://schemas.openxmlformats.org/officeDocument/2006/relationships/slide" Target="slides/slide71.xml"/><Relationship Id="rId77" Type="http://schemas.openxmlformats.org/officeDocument/2006/relationships/slide" Target="slides/slide72.xml"/><Relationship Id="rId78" Type="http://schemas.openxmlformats.org/officeDocument/2006/relationships/slide" Target="slides/slide73.xml"/><Relationship Id="rId79" Type="http://schemas.openxmlformats.org/officeDocument/2006/relationships/slide" Target="slides/slide74.xml"/><Relationship Id="rId80" Type="http://schemas.openxmlformats.org/officeDocument/2006/relationships/slide" Target="slides/slide75.xml"/><Relationship Id="rId81" Type="http://schemas.openxmlformats.org/officeDocument/2006/relationships/slide" Target="slides/slide76.xml"/><Relationship Id="rId82" Type="http://schemas.openxmlformats.org/officeDocument/2006/relationships/slide" Target="slides/slide77.xml"/><Relationship Id="rId83" Type="http://schemas.openxmlformats.org/officeDocument/2006/relationships/slide" Target="slides/slide78.xml"/><Relationship Id="rId84" Type="http://schemas.openxmlformats.org/officeDocument/2006/relationships/slide" Target="slides/slide79.xml"/><Relationship Id="rId85" Type="http://schemas.openxmlformats.org/officeDocument/2006/relationships/slide" Target="slides/slide80.xml"/><Relationship Id="rId86" Type="http://schemas.openxmlformats.org/officeDocument/2006/relationships/slide" Target="slides/slide81.xml"/><Relationship Id="rId87" Type="http://schemas.openxmlformats.org/officeDocument/2006/relationships/slide" Target="slides/slide82.xml"/><Relationship Id="rId88" Type="http://schemas.openxmlformats.org/officeDocument/2006/relationships/slide" Target="slides/slide83.xml"/><Relationship Id="rId89" Type="http://schemas.openxmlformats.org/officeDocument/2006/relationships/slide" Target="slides/slide84.xml"/><Relationship Id="rId90" Type="http://schemas.openxmlformats.org/officeDocument/2006/relationships/slide" Target="slides/slide85.xml"/><Relationship Id="rId91" Type="http://schemas.openxmlformats.org/officeDocument/2006/relationships/slide" Target="slides/slide86.xml"/><Relationship Id="rId92" Type="http://schemas.openxmlformats.org/officeDocument/2006/relationships/slide" Target="slides/slide87.xml"/><Relationship Id="rId93" Type="http://schemas.openxmlformats.org/officeDocument/2006/relationships/slide" Target="slides/slide88.xml"/><Relationship Id="rId94" Type="http://schemas.openxmlformats.org/officeDocument/2006/relationships/slide" Target="slides/slide89.xml"/><Relationship Id="rId95" Type="http://schemas.openxmlformats.org/officeDocument/2006/relationships/slide" Target="slides/slide90.xml"/><Relationship Id="rId96" Type="http://schemas.openxmlformats.org/officeDocument/2006/relationships/slide" Target="slides/slide91.xml"/><Relationship Id="rId97" Type="http://schemas.openxmlformats.org/officeDocument/2006/relationships/slide" Target="slides/slide92.xml"/><Relationship Id="rId98" Type="http://schemas.openxmlformats.org/officeDocument/2006/relationships/slide" Target="slides/slide93.xml"/><Relationship Id="rId99" Type="http://schemas.openxmlformats.org/officeDocument/2006/relationships/slide" Target="slides/slide94.xml"/><Relationship Id="rId100" Type="http://schemas.openxmlformats.org/officeDocument/2006/relationships/slide" Target="slides/slide95.xml"/><Relationship Id="rId101" Type="http://schemas.openxmlformats.org/officeDocument/2006/relationships/slide" Target="slides/slide96.xml"/><Relationship Id="rId102" Type="http://schemas.openxmlformats.org/officeDocument/2006/relationships/slide" Target="slides/slide97.xml"/><Relationship Id="rId103" Type="http://schemas.openxmlformats.org/officeDocument/2006/relationships/slide" Target="slides/slide98.xml"/><Relationship Id="rId104" Type="http://schemas.openxmlformats.org/officeDocument/2006/relationships/slide" Target="slides/slide99.xml"/><Relationship Id="rId105" Type="http://schemas.openxmlformats.org/officeDocument/2006/relationships/slide" Target="slides/slide100.xml"/><Relationship Id="rId106" Type="http://schemas.openxmlformats.org/officeDocument/2006/relationships/slide" Target="slides/slide101.xml"/><Relationship Id="rId107" Type="http://schemas.openxmlformats.org/officeDocument/2006/relationships/slide" Target="slides/slide102.xml"/><Relationship Id="rId108" Type="http://schemas.openxmlformats.org/officeDocument/2006/relationships/slide" Target="slides/slide103.xml"/><Relationship Id="rId109" Type="http://schemas.openxmlformats.org/officeDocument/2006/relationships/slide" Target="slides/slide104.xml"/><Relationship Id="rId110" Type="http://schemas.openxmlformats.org/officeDocument/2006/relationships/slide" Target="slides/slide105.xml"/><Relationship Id="rId111" Type="http://schemas.openxmlformats.org/officeDocument/2006/relationships/slide" Target="slides/slide106.xml"/><Relationship Id="rId112" Type="http://schemas.openxmlformats.org/officeDocument/2006/relationships/slide" Target="slides/slide107.xml"/><Relationship Id="rId113" Type="http://schemas.openxmlformats.org/officeDocument/2006/relationships/slide" Target="slides/slide108.xml"/><Relationship Id="rId114" Type="http://schemas.openxmlformats.org/officeDocument/2006/relationships/slide" Target="slides/slide109.xml"/><Relationship Id="rId115" Type="http://schemas.openxmlformats.org/officeDocument/2006/relationships/slide" Target="slides/slide110.xml"/><Relationship Id="rId116" Type="http://schemas.openxmlformats.org/officeDocument/2006/relationships/slide" Target="slides/slide111.xml"/><Relationship Id="rId117" Type="http://schemas.openxmlformats.org/officeDocument/2006/relationships/slide" Target="slides/slide112.xml"/><Relationship Id="rId118" Type="http://schemas.openxmlformats.org/officeDocument/2006/relationships/slide" Target="slides/slide113.xml"/><Relationship Id="rId119" Type="http://schemas.openxmlformats.org/officeDocument/2006/relationships/slide" Target="slides/slide114.xml"/><Relationship Id="rId120" Type="http://schemas.openxmlformats.org/officeDocument/2006/relationships/slide" Target="slides/slide115.xml"/><Relationship Id="rId121" Type="http://schemas.openxmlformats.org/officeDocument/2006/relationships/slide" Target="slides/slide116.xml"/><Relationship Id="rId122" Type="http://schemas.openxmlformats.org/officeDocument/2006/relationships/slide" Target="slides/slide117.xml"/><Relationship Id="rId123" Type="http://schemas.openxmlformats.org/officeDocument/2006/relationships/slide" Target="slides/slide118.xml"/><Relationship Id="rId124" Type="http://schemas.openxmlformats.org/officeDocument/2006/relationships/slide" Target="slides/slide119.xml"/><Relationship Id="rId125" Type="http://schemas.openxmlformats.org/officeDocument/2006/relationships/slide" Target="slides/slide120.xml"/><Relationship Id="rId126" Type="http://schemas.openxmlformats.org/officeDocument/2006/relationships/slide" Target="slides/slide121.xml"/><Relationship Id="rId127" Type="http://schemas.openxmlformats.org/officeDocument/2006/relationships/slide" Target="slides/slide122.xml"/><Relationship Id="rId128" Type="http://schemas.openxmlformats.org/officeDocument/2006/relationships/slide" Target="slides/slide123.xml"/><Relationship Id="rId129" Type="http://schemas.openxmlformats.org/officeDocument/2006/relationships/slide" Target="slides/slide124.xml"/><Relationship Id="rId130" Type="http://schemas.openxmlformats.org/officeDocument/2006/relationships/slide" Target="slides/slide125.xml"/><Relationship Id="rId131" Type="http://schemas.openxmlformats.org/officeDocument/2006/relationships/slide" Target="slides/slide126.xml"/><Relationship Id="rId132" Type="http://schemas.openxmlformats.org/officeDocument/2006/relationships/slide" Target="slides/slide127.xml"/><Relationship Id="rId133" Type="http://schemas.openxmlformats.org/officeDocument/2006/relationships/slide" Target="slides/slide128.xml"/><Relationship Id="rId134" Type="http://schemas.openxmlformats.org/officeDocument/2006/relationships/slide" Target="slides/slide129.xml"/><Relationship Id="rId135" Type="http://schemas.openxmlformats.org/officeDocument/2006/relationships/slide" Target="slides/slide130.xml"/><Relationship Id="rId136" Type="http://schemas.openxmlformats.org/officeDocument/2006/relationships/slide" Target="slides/slide131.xml"/><Relationship Id="rId137" Type="http://schemas.openxmlformats.org/officeDocument/2006/relationships/notesMaster" Target="notesMasters/notesMaster1.xml"/><Relationship Id="rId138" Type="http://schemas.openxmlformats.org/officeDocument/2006/relationships/presProps" Target="presProps.xml"/><Relationship Id="rId139" Type="http://schemas.openxmlformats.org/officeDocument/2006/relationships/viewProps" Target="viewProps.xml"/><Relationship Id="rId140" Type="http://schemas.openxmlformats.org/officeDocument/2006/relationships/theme" Target="theme/theme1.xml"/><Relationship Id="rId141" Type="http://schemas.openxmlformats.org/officeDocument/2006/relationships/tableStyles" Target="tableStyles.xml"/><Relationship Id="rId142"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Schick</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Gillet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Bic</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Harrys</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Dollar Shave Club</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t>Van Der Hage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t>Not included</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9</c:f>
              <c:numCache>
                <c:formatCode>General</c:formatCode>
                <c:ptCount val="8"/>
                <c:pt idx="0">
                  <c:v>-0.6685703291851004</c:v>
                </c:pt>
                <c:pt idx="1">
                  <c:v>-0.21363895702525393</c:v>
                </c:pt>
                <c:pt idx="2">
                  <c:v>-0.5383520493111823</c:v>
                </c:pt>
                <c:pt idx="3">
                  <c:v>-0.4566461578336188</c:v>
                </c:pt>
                <c:pt idx="4">
                  <c:v>-0.4101174860345041</c:v>
                </c:pt>
                <c:pt idx="5">
                  <c:v>-0.9105738721936264</c:v>
                </c:pt>
                <c:pt idx="6">
                  <c:v>-0.22432378722084048</c:v>
                </c:pt>
                <c:pt idx="7">
                  <c:v>-</c:v>
                </c:pt>
              </c:numCache>
            </c:numRef>
          </c:xVal>
          <c:yVal>
            <c:numRef>
              <c:f>Sheet1!$B$2:$B$9</c:f>
              <c:numCache>
                <c:formatCode>General</c:formatCode>
                <c:ptCount val="8"/>
                <c:pt idx="0">
                  <c:v>-1.0765741891563563</c:v>
                </c:pt>
                <c:pt idx="1">
                  <c:v>-0.23457935214662312</c:v>
                </c:pt>
                <c:pt idx="2">
                  <c:v>-0.4574702408276894</c:v>
                </c:pt>
                <c:pt idx="3">
                  <c:v>-0.4279086077489828</c:v>
                </c:pt>
                <c:pt idx="4">
                  <c:v>-0.45967432796842084</c:v>
                </c:pt>
                <c:pt idx="5">
                  <c:v>-0.7049447033552961</c:v>
                </c:pt>
                <c:pt idx="6">
                  <c:v>-0.1653571983008474</c:v>
                </c:pt>
                <c:pt idx="7">
                  <c:v>-</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Gillette (38.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Bic (16.9%)</c:v>
                </c:pt>
                <c:pt idx="1">
                  <c:v>Schick (11.2%)</c:v>
                </c:pt>
                <c:pt idx="2">
                  <c:v>Equate (21.7%)</c:v>
                </c:pt>
                <c:pt idx="3">
                  <c:v>Harrys (11.2%)</c:v>
                </c:pt>
                <c:pt idx="4">
                  <c:v>Dollar Shave Club (2.9%)</c:v>
                </c:pt>
                <c:pt idx="5">
                  <c:v>Van Der Hagen (2.0%)</c:v>
                </c:pt>
              </c:strCache>
            </c:strRef>
          </c:cat>
          <c:val>
            <c:numRef>
              <c:f>Sheet1!$B$2:$B$7</c:f>
              <c:numCache>
                <c:formatCode>General</c:formatCode>
                <c:ptCount val="6"/>
                <c:pt idx="0">
                  <c:v>0.24667119859031142</c:v>
                </c:pt>
                <c:pt idx="1">
                  <c:v>0.21485720800740607</c:v>
                </c:pt>
                <c:pt idx="2">
                  <c:v>0.19789852868871807</c:v>
                </c:pt>
                <c:pt idx="3">
                  <c:v>0.060204080041666545</c:v>
                </c:pt>
                <c:pt idx="4">
                  <c:v>0.04162619562136456</c:v>
                </c:pt>
                <c:pt idx="5">
                  <c:v>0.01222041234148396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Advanced Hydration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Refills 6 Pack (0.6%)</c:v>
                </c:pt>
                <c:pt idx="1">
                  <c:v>None Blades (83.2%)</c:v>
                </c:pt>
                <c:pt idx="2">
                  <c:v>Schick Hydro 5 Blade Sensitive Refills 12 Pack (0.4%)</c:v>
                </c:pt>
                <c:pt idx="3">
                  <c:v>Schick Hydro 3 Blade Ultra Sensitive Refills 5 Pack (0.0%)</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4901060620227182</c:v>
                </c:pt>
                <c:pt idx="1">
                  <c:v>0.32752988217246576</c:v>
                </c:pt>
                <c:pt idx="2">
                  <c:v>0.12441720074345515</c:v>
                </c:pt>
                <c:pt idx="3">
                  <c:v>0.057654364006049556</c:v>
                </c:pt>
                <c:pt idx="4">
                  <c:v>0.0005394042601790817</c:v>
                </c:pt>
                <c:pt idx="5">
                  <c:v>0.0004764485400914301</c:v>
                </c:pt>
                <c:pt idx="6">
                  <c:v>0.0003023453060440772</c:v>
                </c:pt>
                <c:pt idx="7">
                  <c:v>0.000260395805966545</c:v>
                </c:pt>
                <c:pt idx="8">
                  <c:v>0.0002513059410903701</c:v>
                </c:pt>
                <c:pt idx="9">
                  <c:v>0.0002073988900733995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Chrome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5 Blade Sensitive Refills 12 Pack (0.4%)</c:v>
                </c:pt>
                <c:pt idx="3">
                  <c:v>Schick Hydro 3 Blade Ultra Sensitive Refills 5 Pack (0.0%)</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5174894044782585</c:v>
                </c:pt>
                <c:pt idx="1">
                  <c:v>0.30734184707340645</c:v>
                </c:pt>
                <c:pt idx="2">
                  <c:v>0.11999550421132797</c:v>
                </c:pt>
                <c:pt idx="3">
                  <c:v>0.05472732234729924</c:v>
                </c:pt>
                <c:pt idx="4">
                  <c:v>0.000822390226280322</c:v>
                </c:pt>
                <c:pt idx="5">
                  <c:v>0.0007264865617173437</c:v>
                </c:pt>
                <c:pt idx="6">
                  <c:v>0.0004609902727649171</c:v>
                </c:pt>
                <c:pt idx="7">
                  <c:v>0.00039704656730975133</c:v>
                </c:pt>
                <c:pt idx="8">
                  <c:v>0.0003831826441879315</c:v>
                </c:pt>
                <c:pt idx="9">
                  <c:v>0.000316188888687150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Chrome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5 Blade Sensitive Refills 12 Pack (0.4%)</c:v>
                </c:pt>
                <c:pt idx="3">
                  <c:v>Schick Hydro 3 Blade Ultra Sensitive Refills 5 Pack (0.0%)</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46597740378557434</c:v>
                </c:pt>
                <c:pt idx="1">
                  <c:v>0.3599660900318067</c:v>
                </c:pt>
                <c:pt idx="2">
                  <c:v>0.10722129977741027</c:v>
                </c:pt>
                <c:pt idx="3">
                  <c:v>0.06649199276177659</c:v>
                </c:pt>
                <c:pt idx="4">
                  <c:v>0.0006329455146140063</c:v>
                </c:pt>
                <c:pt idx="5">
                  <c:v>0.0005590722740957637</c:v>
                </c:pt>
                <c:pt idx="6">
                  <c:v>0.0003547767777393224</c:v>
                </c:pt>
                <c:pt idx="7">
                  <c:v>0.0003055525689695237</c:v>
                </c:pt>
                <c:pt idx="8">
                  <c:v>0.0002948863773456159</c:v>
                </c:pt>
                <c:pt idx="9">
                  <c:v>0.0002433651472539341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Quattro Four Blade Refills 3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Equate Easy Fit 5 Blade Refills 4 Pack (0.6%)</c:v>
                </c:pt>
                <c:pt idx="2">
                  <c:v>Gillette Mach 3 Blade Refills 4 Pack (1.3%)</c:v>
                </c:pt>
                <c:pt idx="3">
                  <c:v>Schick Xtreme 2 Sensitive Disposable Razors 12 Pack (2.7%)</c:v>
                </c:pt>
                <c:pt idx="4">
                  <c:v>Schick Xtreme 5 Sensitive Disposable Razors 8 Pack (0.0%)</c:v>
                </c:pt>
                <c:pt idx="5">
                  <c:v>Schick Xtreme 2 Sensitive Disposable Razors 24 Pack (0.0%)</c:v>
                </c:pt>
                <c:pt idx="6">
                  <c:v>Schick Xtreme 5 Sensitive Disposable Razors 2 Pack (0.0%)</c:v>
                </c:pt>
                <c:pt idx="7">
                  <c:v>Schick Xtreme 5 Sensitive Disposable Razors 4 Pack (0.0%)</c:v>
                </c:pt>
                <c:pt idx="8">
                  <c:v>Schick Xtreme 3 Body &amp; Groin Disposable Razors 3 Pack (0.0%)</c:v>
                </c:pt>
                <c:pt idx="9">
                  <c:v>Schick Hydro 5 Ultimate Comfort Disposable Razors 3 Pack (0.0%)</c:v>
                </c:pt>
              </c:strCache>
            </c:strRef>
          </c:cat>
          <c:val>
            <c:numRef>
              <c:f>Sheet1!$B$2:$B$11</c:f>
              <c:numCache>
                <c:formatCode>General</c:formatCode>
                <c:ptCount val="10"/>
                <c:pt idx="0">
                  <c:v>0.9999999999984059</c:v>
                </c:pt>
                <c:pt idx="1">
                  <c:v>1.01714698796588e-13</c:v>
                </c:pt>
                <c:pt idx="2">
                  <c:v>1.01714698796588e-13</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Quattro Four Blade Refills 3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Harry's Men Five Blade Refills 8 Pack (1.6%)</c:v>
                </c:pt>
                <c:pt idx="2">
                  <c:v>Gillette Fusion 5 Proglide Blade Refills 12 Pack (0.8%)</c:v>
                </c:pt>
                <c:pt idx="3">
                  <c:v>Dollar Shave Club 6 Blades Blade Refills 8 Pack (0.3%)</c:v>
                </c:pt>
                <c:pt idx="4">
                  <c:v>Schick Xtreme 2 Sensitive Disposable Razors 12 Pack (2.7%)</c:v>
                </c:pt>
                <c:pt idx="5">
                  <c:v>Schick Xtreme 2 Sensitive Disposable Razors 24 Pack (0.0%)</c:v>
                </c:pt>
                <c:pt idx="6">
                  <c:v>Schick Xtreme 5 Sensitive Disposable Razors 2 Pack (0.0%)</c:v>
                </c:pt>
                <c:pt idx="7">
                  <c:v>Schick Xtreme 5 Sensitive Disposable Razors 4 Pack (0.0%)</c:v>
                </c:pt>
                <c:pt idx="8">
                  <c:v>Schick Xtreme 3 Body &amp; Groin Disposable Razors 3 Pack (0.0%)</c:v>
                </c:pt>
                <c:pt idx="9">
                  <c:v>Schick Hydro 5 Ultimate Comfort Disposable Razors 3 Pack (0.0%)</c:v>
                </c:pt>
              </c:strCache>
            </c:strRef>
          </c:cat>
          <c:val>
            <c:numRef>
              <c:f>Sheet1!$B$2:$B$11</c:f>
              <c:numCache>
                <c:formatCode>General</c:formatCode>
                <c:ptCount val="10"/>
                <c:pt idx="0">
                  <c:v>0.9999999999996501</c:v>
                </c:pt>
                <c:pt idx="1">
                  <c:v>5.456156637418335e-14</c:v>
                </c:pt>
                <c:pt idx="2">
                  <c:v>2.7280783187091676e-14</c:v>
                </c:pt>
                <c:pt idx="3">
                  <c:v>6.820195796772919e-15</c:v>
                </c:pt>
                <c:pt idx="4">
                  <c:v>0.0</c:v>
                </c:pt>
                <c:pt idx="5">
                  <c:v>0.0</c:v>
                </c:pt>
                <c:pt idx="6">
                  <c:v>0.0</c:v>
                </c:pt>
                <c:pt idx="7">
                  <c:v>0.0</c:v>
                </c:pt>
                <c:pt idx="8">
                  <c:v>0.0</c:v>
                </c:pt>
                <c:pt idx="9">
                  <c:v>0.0</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Quattro Four Blade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Van Der Hagen Men Double Edge Blade Refills 10 Pack (1.2%)</c:v>
                </c:pt>
                <c:pt idx="2">
                  <c:v>Schick Hydro 5 Blade Sensitive Refills 6 Pack (0.6%)</c:v>
                </c:pt>
                <c:pt idx="3">
                  <c:v>Schick Xtreme 2 Sensitive Disposable Razors 12 Pack (2.7%)</c:v>
                </c:pt>
                <c:pt idx="4">
                  <c:v>Schick Xtreme 5 Sensitive Disposable Razors 8 Pack (0.0%)</c:v>
                </c:pt>
                <c:pt idx="5">
                  <c:v>Schick Xtreme 2 Sensitive Disposable Razors 24 Pack (0.0%)</c:v>
                </c:pt>
                <c:pt idx="6">
                  <c:v>Schick Xtreme 5 Sensitive Disposable Razors 2 Pack (0.0%)</c:v>
                </c:pt>
                <c:pt idx="7">
                  <c:v>Schick Xtreme 5 Sensitive Disposable Razors 4 Pack (0.0%)</c:v>
                </c:pt>
                <c:pt idx="8">
                  <c:v>Schick Xtreme 3 Body &amp; Groin Disposable Razors 3 Pack (0.0%)</c:v>
                </c:pt>
                <c:pt idx="9">
                  <c:v>Schick Hydro 5 Ultimate Comfort Disposable Razors 3 Pack (0.0%)</c:v>
                </c:pt>
              </c:strCache>
            </c:strRef>
          </c:cat>
          <c:val>
            <c:numRef>
              <c:f>Sheet1!$B$2:$B$11</c:f>
              <c:numCache>
                <c:formatCode>General</c:formatCode>
                <c:ptCount val="10"/>
                <c:pt idx="0">
                  <c:v>1.0000000000467621</c:v>
                </c:pt>
                <c:pt idx="1">
                  <c:v>4.059651102152491e-13</c:v>
                </c:pt>
                <c:pt idx="2">
                  <c:v>2.0298255510762454e-13</c:v>
                </c:pt>
                <c:pt idx="3">
                  <c:v>-0.0</c:v>
                </c:pt>
                <c:pt idx="4">
                  <c:v>-0.0</c:v>
                </c:pt>
                <c:pt idx="5">
                  <c:v>-0.0</c:v>
                </c:pt>
                <c:pt idx="6">
                  <c:v>-0.0</c:v>
                </c:pt>
                <c:pt idx="7">
                  <c:v>-0.0</c:v>
                </c:pt>
                <c:pt idx="8">
                  <c:v>-0.0</c:v>
                </c:pt>
                <c:pt idx="9">
                  <c:v>-0.0</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Quattro Four Blade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Harry's Men Five Blade Refills 4 Pack (2.5%)</c:v>
                </c:pt>
                <c:pt idx="2">
                  <c:v>Gillette Fusion 5 Blade Refills 12 Pack (0.9%)</c:v>
                </c:pt>
                <c:pt idx="3">
                  <c:v>Gillette Mach 3 Blade Refills 4 Pack (1.3%)</c:v>
                </c:pt>
                <c:pt idx="4">
                  <c:v>Equate Easy Fit 5 Blade Refills 4 Pack (0.6%)</c:v>
                </c:pt>
                <c:pt idx="5">
                  <c:v>Dollar Shave Club 6 Blades Blade Refills 4 Pack (0.6%)</c:v>
                </c:pt>
                <c:pt idx="6">
                  <c:v>Schick Hydro 5 Blade Sensitive Refills 12 Pack (0.4%)</c:v>
                </c:pt>
                <c:pt idx="7">
                  <c:v>Schick Xtreme 2 Sensitive Disposable Razors 12 Pack (2.7%)</c:v>
                </c:pt>
                <c:pt idx="8">
                  <c:v>Schick Xtreme 3 Body &amp; Groin Disposable Razors 3 Pack (0.0%)</c:v>
                </c:pt>
                <c:pt idx="9">
                  <c:v>Schick Xtreme 2 Sensitive Disposable Razors 24 Pack (0.0%)</c:v>
                </c:pt>
              </c:strCache>
            </c:strRef>
          </c:cat>
          <c:val>
            <c:numRef>
              <c:f>Sheet1!$B$2:$B$11</c:f>
              <c:numCache>
                <c:formatCode>General</c:formatCode>
                <c:ptCount val="10"/>
                <c:pt idx="0">
                  <c:v>0.9999999999939329</c:v>
                </c:pt>
                <c:pt idx="1">
                  <c:v>1.0942542764054779e-13</c:v>
                </c:pt>
                <c:pt idx="2">
                  <c:v>5.4712713820273894e-14</c:v>
                </c:pt>
                <c:pt idx="3">
                  <c:v>5.4712713820273894e-14</c:v>
                </c:pt>
                <c:pt idx="4">
                  <c:v>2.7356356910136947e-14</c:v>
                </c:pt>
                <c:pt idx="5">
                  <c:v>2.7356356910136947e-14</c:v>
                </c:pt>
                <c:pt idx="6">
                  <c:v>1.3678178455068474e-14</c:v>
                </c:pt>
                <c:pt idx="7">
                  <c:v>0.0</c:v>
                </c:pt>
                <c:pt idx="8">
                  <c:v>0.0</c:v>
                </c:pt>
                <c:pt idx="9">
                  <c:v>0.0</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5 Blades Blade Refills 4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rry's Men Five Blade Refills 8 Pack (1.6%)</c:v>
                </c:pt>
                <c:pt idx="1">
                  <c:v>Harry's Men Five Blade Refills 4 Pack (2.5%)</c:v>
                </c:pt>
                <c:pt idx="2">
                  <c:v>None Blades (83.2%)</c:v>
                </c:pt>
                <c:pt idx="3">
                  <c:v>Harry's Men Five Blade Refills 12 Pack (0.9%)</c:v>
                </c:pt>
                <c:pt idx="4">
                  <c:v>None Razors (12.2%)</c:v>
                </c:pt>
                <c:pt idx="5">
                  <c:v>Dollar Shave Club 6 1 Handle + 2 Blades (2.0%)</c:v>
                </c:pt>
                <c:pt idx="6">
                  <c:v>Gillette Mach 3 1 Handle + 2 Cartridges (2.7%)</c:v>
                </c:pt>
                <c:pt idx="7">
                  <c:v>Dollar Shave Club 6 Blades Blade Refills 4 Pack (0.6%)</c:v>
                </c:pt>
                <c:pt idx="8">
                  <c:v>Gillette Fusion 5 1 Handle + 2 Cartridges (2.9%)</c:v>
                </c:pt>
                <c:pt idx="9">
                  <c:v>Van Der Hagen Men Double Edge Blade 1 Handle + 5 Cartridges (0.8%)</c:v>
                </c:pt>
              </c:strCache>
            </c:strRef>
          </c:cat>
          <c:val>
            <c:numRef>
              <c:f>Sheet1!$B$2:$B$11</c:f>
              <c:numCache>
                <c:formatCode>General</c:formatCode>
                <c:ptCount val="10"/>
                <c:pt idx="0">
                  <c:v>0.4341901414920318</c:v>
                </c:pt>
                <c:pt idx="1">
                  <c:v>0.33131443890007733</c:v>
                </c:pt>
                <c:pt idx="2">
                  <c:v>0.14353650442123528</c:v>
                </c:pt>
                <c:pt idx="3">
                  <c:v>0.09055943099597483</c:v>
                </c:pt>
                <c:pt idx="4">
                  <c:v>0.0005007566739140889</c:v>
                </c:pt>
                <c:pt idx="5">
                  <c:v>0.00031701931358042436</c:v>
                </c:pt>
                <c:pt idx="6">
                  <c:v>0.00011678498415079861</c:v>
                </c:pt>
                <c:pt idx="7">
                  <c:v>9.337867726356753e-05</c:v>
                </c:pt>
                <c:pt idx="8">
                  <c:v>9.29648626757456e-05</c:v>
                </c:pt>
                <c:pt idx="9">
                  <c:v>8.040949091116309e-0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5 Blades Blade Refills 4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rry's Men Five Blade Refills 8 Pack (1.6%)</c:v>
                </c:pt>
                <c:pt idx="1">
                  <c:v>Harry's Men Five Blade Refills 4 Pack (2.5%)</c:v>
                </c:pt>
                <c:pt idx="2">
                  <c:v>None Blades (83.2%)</c:v>
                </c:pt>
                <c:pt idx="3">
                  <c:v>Harry's Men Five Blade Refills 12 Pack (0.9%)</c:v>
                </c:pt>
                <c:pt idx="4">
                  <c:v>None Razors (12.2%)</c:v>
                </c:pt>
                <c:pt idx="5">
                  <c:v>Dollar Shave Club 6 1 Handle + 2 Blades (2.0%)</c:v>
                </c:pt>
                <c:pt idx="6">
                  <c:v>Gillette Mach 3 1 Handle + 2 Cartridges (2.7%)</c:v>
                </c:pt>
                <c:pt idx="7">
                  <c:v>Dollar Shave Club 6 Blades Blade Refills 4 Pack (0.6%)</c:v>
                </c:pt>
                <c:pt idx="8">
                  <c:v>Gillette Fusion 5 1 Handle + 2 Cartridges (2.9%)</c:v>
                </c:pt>
                <c:pt idx="9">
                  <c:v>Van Der Hagen Men Double Edge Blade 1 Handle + 5 Cartridges (0.8%)</c:v>
                </c:pt>
              </c:strCache>
            </c:strRef>
          </c:cat>
          <c:val>
            <c:numRef>
              <c:f>Sheet1!$B$2:$B$11</c:f>
              <c:numCache>
                <c:formatCode>General</c:formatCode>
                <c:ptCount val="10"/>
                <c:pt idx="0">
                  <c:v>0.4251299458061123</c:v>
                </c:pt>
                <c:pt idx="1">
                  <c:v>0.3206292020914832</c:v>
                </c:pt>
                <c:pt idx="2">
                  <c:v>0.16086497763456187</c:v>
                </c:pt>
                <c:pt idx="3">
                  <c:v>0.09218248776688284</c:v>
                </c:pt>
                <c:pt idx="4">
                  <c:v>0.001495897109167742</c:v>
                </c:pt>
                <c:pt idx="5">
                  <c:v>0.0009470404528890454</c:v>
                </c:pt>
                <c:pt idx="6">
                  <c:v>0.0003488731936445684</c:v>
                </c:pt>
                <c:pt idx="7">
                  <c:v>0.0002789526055691954</c:v>
                </c:pt>
                <c:pt idx="8">
                  <c:v>0.00027771626236036136</c:v>
                </c:pt>
                <c:pt idx="9">
                  <c:v>0.0002402099292494901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Easy Fit 5 Blade Refills 4 Pack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Gillette Fusion 5 Blade Refills 4 Pack (1.1%)</c:v>
                </c:pt>
                <c:pt idx="2">
                  <c:v>Equate Easy Fit 5 Blade Refills 8 Pack (0.4%)</c:v>
                </c:pt>
                <c:pt idx="3">
                  <c:v>Equate Easy Fit 5 Blade Refills 12 Pack (0.4%)</c:v>
                </c:pt>
                <c:pt idx="4">
                  <c:v>Gillette Fusion 5 Proglide Blade Refills 4 Pack (1.2%)</c:v>
                </c:pt>
                <c:pt idx="5">
                  <c:v>Gillette Fusion 5 Blade Refills 12 Pack (0.9%)</c:v>
                </c:pt>
                <c:pt idx="6">
                  <c:v>Gillette Fusion 5 Proglide Blade Refills 8 Pack (1.0%)</c:v>
                </c:pt>
                <c:pt idx="7">
                  <c:v>Gillette Fusion 5 Proglide Blade Refills 12 Pack (0.8%)</c:v>
                </c:pt>
                <c:pt idx="8">
                  <c:v>None Razors (12.2%)</c:v>
                </c:pt>
                <c:pt idx="9">
                  <c:v>Gillette Mach 3 1 Handle + 2 Cartridges (2.7%)</c:v>
                </c:pt>
              </c:strCache>
            </c:strRef>
          </c:cat>
          <c:val>
            <c:numRef>
              <c:f>Sheet1!$B$2:$B$11</c:f>
              <c:numCache>
                <c:formatCode>General</c:formatCode>
                <c:ptCount val="10"/>
                <c:pt idx="0">
                  <c:v>0.4747910464987444</c:v>
                </c:pt>
                <c:pt idx="1">
                  <c:v>0.19491996219694835</c:v>
                </c:pt>
                <c:pt idx="2">
                  <c:v>0.11273150308473295</c:v>
                </c:pt>
                <c:pt idx="3">
                  <c:v>0.07897142227717496</c:v>
                </c:pt>
                <c:pt idx="4">
                  <c:v>0.04135399057414485</c:v>
                </c:pt>
                <c:pt idx="5">
                  <c:v>0.03752375495454367</c:v>
                </c:pt>
                <c:pt idx="6">
                  <c:v>0.03592087684294101</c:v>
                </c:pt>
                <c:pt idx="7">
                  <c:v>0.023332517893877747</c:v>
                </c:pt>
                <c:pt idx="8">
                  <c:v>0.0008361060193848264</c:v>
                </c:pt>
                <c:pt idx="9">
                  <c:v>0.0002357501529001039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ic (16.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quate (21.7%)</c:v>
                </c:pt>
                <c:pt idx="1">
                  <c:v>Gillette (38.7%)</c:v>
                </c:pt>
                <c:pt idx="2">
                  <c:v>Schick (11.2%)</c:v>
                </c:pt>
                <c:pt idx="3">
                  <c:v>Harrys (11.2%)</c:v>
                </c:pt>
                <c:pt idx="4">
                  <c:v>Dollar Shave Club (2.9%)</c:v>
                </c:pt>
                <c:pt idx="5">
                  <c:v>Van Der Hagen (2.0%)</c:v>
                </c:pt>
              </c:strCache>
            </c:strRef>
          </c:cat>
          <c:val>
            <c:numRef>
              <c:f>Sheet1!$B$2:$B$7</c:f>
              <c:numCache>
                <c:formatCode>General</c:formatCode>
                <c:ptCount val="6"/>
                <c:pt idx="0">
                  <c:v>0.4362664045057848</c:v>
                </c:pt>
                <c:pt idx="1">
                  <c:v>0.28372957705746</c:v>
                </c:pt>
                <c:pt idx="2">
                  <c:v>0.17161966354073946</c:v>
                </c:pt>
                <c:pt idx="3">
                  <c:v>0.033458336181336</c:v>
                </c:pt>
                <c:pt idx="4">
                  <c:v>0.030834187541114992</c:v>
                </c:pt>
                <c:pt idx="5">
                  <c:v>0.01135416514074110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Easy Fit 5 Blade Refills 4 Pack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Gillette Fusion 5 Blade Refills 4 Pack (1.1%)</c:v>
                </c:pt>
                <c:pt idx="2">
                  <c:v>Equate Easy Fit 5 Blade Refills 8 Pack (0.4%)</c:v>
                </c:pt>
                <c:pt idx="3">
                  <c:v>Equate Easy Fit 5 Blade Refills 12 Pack (0.4%)</c:v>
                </c:pt>
                <c:pt idx="4">
                  <c:v>Gillette Fusion 5 Blade Refills 12 Pack (0.9%)</c:v>
                </c:pt>
                <c:pt idx="5">
                  <c:v>Gillette Fusion 5 Proglide Blade Refills 4 Pack (1.2%)</c:v>
                </c:pt>
                <c:pt idx="6">
                  <c:v>Gillette Fusion 5 Proglide Blade Refills 8 Pack (1.0%)</c:v>
                </c:pt>
                <c:pt idx="7">
                  <c:v>Gillette Fusion 5 Proglide Blade Refills 12 Pack (0.8%)</c:v>
                </c:pt>
                <c:pt idx="8">
                  <c:v>None Razors (12.2%)</c:v>
                </c:pt>
                <c:pt idx="9">
                  <c:v>Gillette Mach 3 1 Handle + 2 Cartridges (2.7%)</c:v>
                </c:pt>
              </c:strCache>
            </c:strRef>
          </c:cat>
          <c:val>
            <c:numRef>
              <c:f>Sheet1!$B$2:$B$11</c:f>
              <c:numCache>
                <c:formatCode>General</c:formatCode>
                <c:ptCount val="10"/>
                <c:pt idx="0">
                  <c:v>0.4473619489096524</c:v>
                </c:pt>
                <c:pt idx="1">
                  <c:v>0.17501813001851343</c:v>
                </c:pt>
                <c:pt idx="2">
                  <c:v>0.14695741095526016</c:v>
                </c:pt>
                <c:pt idx="3">
                  <c:v>0.10118515585724965</c:v>
                </c:pt>
                <c:pt idx="4">
                  <c:v>0.04004211724846728</c:v>
                </c:pt>
                <c:pt idx="5">
                  <c:v>0.0349393103637289</c:v>
                </c:pt>
                <c:pt idx="6">
                  <c:v>0.03176585945411071</c:v>
                </c:pt>
                <c:pt idx="7">
                  <c:v>0.022203620555100587</c:v>
                </c:pt>
                <c:pt idx="8">
                  <c:v>0.000967541976610238</c:v>
                </c:pt>
                <c:pt idx="9">
                  <c:v>0.0002728184218308252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Easy Fit 5 Blade Refills 8 Pack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Equate Easy Fit 5 Blade Refills 4 Pack (0.6%)</c:v>
                </c:pt>
                <c:pt idx="2">
                  <c:v>Gillette Fusion 5 Blade Refills 4 Pack (1.1%)</c:v>
                </c:pt>
                <c:pt idx="3">
                  <c:v>Equate Easy Fit 5 Blade Refills 12 Pack (0.4%)</c:v>
                </c:pt>
                <c:pt idx="4">
                  <c:v>Gillette Fusion 5 Proglide Blade Refills 4 Pack (1.2%)</c:v>
                </c:pt>
                <c:pt idx="5">
                  <c:v>Gillette Fusion 5 Blade Refills 12 Pack (0.9%)</c:v>
                </c:pt>
                <c:pt idx="6">
                  <c:v>Gillette Fusion 5 Proglide Blade Refills 8 Pack (1.0%)</c:v>
                </c:pt>
                <c:pt idx="7">
                  <c:v>Gillette Fusion 5 Proglide Blade Refills 12 Pack (0.8%)</c:v>
                </c:pt>
                <c:pt idx="8">
                  <c:v>None Razors (12.2%)</c:v>
                </c:pt>
                <c:pt idx="9">
                  <c:v>Gillette Mach 3 1 Handle + 2 Cartridges (2.7%)</c:v>
                </c:pt>
              </c:strCache>
            </c:strRef>
          </c:cat>
          <c:val>
            <c:numRef>
              <c:f>Sheet1!$B$2:$B$11</c:f>
              <c:numCache>
                <c:formatCode>General</c:formatCode>
                <c:ptCount val="10"/>
                <c:pt idx="0">
                  <c:v>0.27810434352164737</c:v>
                </c:pt>
                <c:pt idx="1">
                  <c:v>0.2599682396714809</c:v>
                </c:pt>
                <c:pt idx="2">
                  <c:v>0.1856746665052718</c:v>
                </c:pt>
                <c:pt idx="3">
                  <c:v>0.10636100653866441</c:v>
                </c:pt>
                <c:pt idx="4">
                  <c:v>0.051598655334601846</c:v>
                </c:pt>
                <c:pt idx="5">
                  <c:v>0.04701817254687777</c:v>
                </c:pt>
                <c:pt idx="6">
                  <c:v>0.043090133179219496</c:v>
                </c:pt>
                <c:pt idx="7">
                  <c:v>0.027425680184552416</c:v>
                </c:pt>
                <c:pt idx="8">
                  <c:v>0.001395156856268742</c:v>
                </c:pt>
                <c:pt idx="9">
                  <c:v>0.00039337751810391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Easy Fit 5 Blade Refills 8 Pack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Easy Fit 5 Blade Refills 4 Pack (0.6%)</c:v>
                </c:pt>
                <c:pt idx="1">
                  <c:v>None Blades (83.2%)</c:v>
                </c:pt>
                <c:pt idx="2">
                  <c:v>Gillette Fusion 5 Blade Refills 4 Pack (1.1%)</c:v>
                </c:pt>
                <c:pt idx="3">
                  <c:v>Equate Easy Fit 5 Blade Refills 12 Pack (0.4%)</c:v>
                </c:pt>
                <c:pt idx="4">
                  <c:v>Gillette Fusion 5 Blade Refills 12 Pack (0.9%)</c:v>
                </c:pt>
                <c:pt idx="5">
                  <c:v>Gillette Fusion 5 Proglide Blade Refills 4 Pack (1.2%)</c:v>
                </c:pt>
                <c:pt idx="6">
                  <c:v>Gillette Fusion 5 Proglide Blade Refills 8 Pack (1.0%)</c:v>
                </c:pt>
                <c:pt idx="7">
                  <c:v>Gillette Fusion 5 Proglide Blade Refills 12 Pack (0.8%)</c:v>
                </c:pt>
                <c:pt idx="8">
                  <c:v>None Razors (12.2%)</c:v>
                </c:pt>
                <c:pt idx="9">
                  <c:v>Gillette Mach 3 1 Handle + 2 Cartridges (2.7%)</c:v>
                </c:pt>
              </c:strCache>
            </c:strRef>
          </c:cat>
          <c:val>
            <c:numRef>
              <c:f>Sheet1!$B$2:$B$11</c:f>
              <c:numCache>
                <c:formatCode>General</c:formatCode>
                <c:ptCount val="10"/>
                <c:pt idx="0">
                  <c:v>0.3678357975778885</c:v>
                </c:pt>
                <c:pt idx="1">
                  <c:v>0.22762037579546116</c:v>
                </c:pt>
                <c:pt idx="2">
                  <c:v>0.16595255588440735</c:v>
                </c:pt>
                <c:pt idx="3">
                  <c:v>0.12716181867649046</c:v>
                </c:pt>
                <c:pt idx="4">
                  <c:v>0.037190803618331984</c:v>
                </c:pt>
                <c:pt idx="5">
                  <c:v>0.027876401989298687</c:v>
                </c:pt>
                <c:pt idx="6">
                  <c:v>0.027070492615197506</c:v>
                </c:pt>
                <c:pt idx="7">
                  <c:v>0.018765262345889898</c:v>
                </c:pt>
                <c:pt idx="8">
                  <c:v>0.0009676187219291228</c:v>
                </c:pt>
                <c:pt idx="9">
                  <c:v>0.000272843957298620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Easy Fit 5 Blade Refills 12 Pack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Gillette Fusion 5 Blade Refills 4 Pack (1.1%)</c:v>
                </c:pt>
                <c:pt idx="2">
                  <c:v>Equate Easy Fit 5 Blade Refills 4 Pack (0.6%)</c:v>
                </c:pt>
                <c:pt idx="3">
                  <c:v>Equate Easy Fit 5 Blade Refills 8 Pack (0.4%)</c:v>
                </c:pt>
                <c:pt idx="4">
                  <c:v>Gillette Fusion 5 Blade Refills 12 Pack (0.9%)</c:v>
                </c:pt>
                <c:pt idx="5">
                  <c:v>Gillette Fusion 5 Proglide Blade Refills 8 Pack (1.0%)</c:v>
                </c:pt>
                <c:pt idx="6">
                  <c:v>Gillette Fusion 5 Proglide Blade Refills 12 Pack (0.8%)</c:v>
                </c:pt>
                <c:pt idx="7">
                  <c:v>Gillette Fusion 5 Proglide Blade Refills 4 Pack (1.2%)</c:v>
                </c:pt>
                <c:pt idx="8">
                  <c:v>None Razors (12.2%)</c:v>
                </c:pt>
                <c:pt idx="9">
                  <c:v>Gillette Mach 3 1 Handle + 2 Cartridges (2.7%)</c:v>
                </c:pt>
              </c:strCache>
            </c:strRef>
          </c:cat>
          <c:val>
            <c:numRef>
              <c:f>Sheet1!$B$2:$B$11</c:f>
              <c:numCache>
                <c:formatCode>General</c:formatCode>
                <c:ptCount val="10"/>
                <c:pt idx="0">
                  <c:v>0.30843090016880575</c:v>
                </c:pt>
                <c:pt idx="1">
                  <c:v>0.16212227888805264</c:v>
                </c:pt>
                <c:pt idx="2">
                  <c:v>0.15418391226516343</c:v>
                </c:pt>
                <c:pt idx="3">
                  <c:v>0.13053138987153706</c:v>
                </c:pt>
                <c:pt idx="4">
                  <c:v>0.11393642157577384</c:v>
                </c:pt>
                <c:pt idx="5">
                  <c:v>0.048160327244894253</c:v>
                </c:pt>
                <c:pt idx="6">
                  <c:v>0.04132711837564149</c:v>
                </c:pt>
                <c:pt idx="7">
                  <c:v>0.04058367048215903</c:v>
                </c:pt>
                <c:pt idx="8">
                  <c:v>0.001330610130344414</c:v>
                </c:pt>
                <c:pt idx="9">
                  <c:v>0.0003751759240292198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Easy Fit 5 Blade Refills 12 Pack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Equate Easy Fit 5 Blade Refills 4 Pack (0.6%)</c:v>
                </c:pt>
                <c:pt idx="2">
                  <c:v>Gillette Fusion 5 Blade Refills 4 Pack (1.1%)</c:v>
                </c:pt>
                <c:pt idx="3">
                  <c:v>Equate Easy Fit 5 Blade Refills 8 Pack (0.4%)</c:v>
                </c:pt>
                <c:pt idx="4">
                  <c:v>Gillette Fusion 5 Blade Refills 12 Pack (0.9%)</c:v>
                </c:pt>
                <c:pt idx="5">
                  <c:v>Gillette Fusion 5 Proglide Blade Refills 4 Pack (1.2%)</c:v>
                </c:pt>
                <c:pt idx="6">
                  <c:v>Gillette Fusion 5 Proglide Blade Refills 8 Pack (1.0%)</c:v>
                </c:pt>
                <c:pt idx="7">
                  <c:v>Gillette Fusion 5 Proglide Blade Refills 12 Pack (0.8%)</c:v>
                </c:pt>
                <c:pt idx="8">
                  <c:v>None Razors (12.2%)</c:v>
                </c:pt>
                <c:pt idx="9">
                  <c:v>Gillette Mach 3 1 Handle + 2 Cartridges (2.7%)</c:v>
                </c:pt>
              </c:strCache>
            </c:strRef>
          </c:cat>
          <c:val>
            <c:numRef>
              <c:f>Sheet1!$B$2:$B$11</c:f>
              <c:numCache>
                <c:formatCode>General</c:formatCode>
                <c:ptCount val="10"/>
                <c:pt idx="0">
                  <c:v>0.34009935467694</c:v>
                </c:pt>
                <c:pt idx="1">
                  <c:v>0.1947995624064077</c:v>
                </c:pt>
                <c:pt idx="2">
                  <c:v>0.18705357207559783</c:v>
                </c:pt>
                <c:pt idx="3">
                  <c:v>0.14553885713825163</c:v>
                </c:pt>
                <c:pt idx="4">
                  <c:v>0.04923884519601066</c:v>
                </c:pt>
                <c:pt idx="5">
                  <c:v>0.0348803906633762</c:v>
                </c:pt>
                <c:pt idx="6">
                  <c:v>0.02985046485823962</c:v>
                </c:pt>
                <c:pt idx="7">
                  <c:v>0.017722889181028142</c:v>
                </c:pt>
                <c:pt idx="8">
                  <c:v>0.0014998076289978795</c:v>
                </c:pt>
                <c:pt idx="9">
                  <c:v>0.000422911191397312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Xtreme 2 Sensitive Disposable Razors 12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5.470000000000001</c:v>
                </c:pt>
                <c:pt idx="1">
                  <c:v>5.7700000000000005</c:v>
                </c:pt>
                <c:pt idx="2">
                  <c:v>6.47</c:v>
                </c:pt>
                <c:pt idx="3">
                  <c:v>7.07</c:v>
                </c:pt>
                <c:pt idx="4">
                  <c:v>8.07</c:v>
                </c:pt>
              </c:numCache>
            </c:numRef>
          </c:xVal>
          <c:yVal>
            <c:numRef>
              <c:f>Sheet1!$B$2:$B$6</c:f>
              <c:numCache>
                <c:formatCode>General</c:formatCode>
                <c:ptCount val="5"/>
                <c:pt idx="0">
                  <c:v>0.08896232559524755</c:v>
                </c:pt>
                <c:pt idx="1">
                  <c:v>0.05924352356986351</c:v>
                </c:pt>
                <c:pt idx="2">
                  <c:v>0.0</c:v>
                </c:pt>
                <c:pt idx="3">
                  <c:v>-0.1337238454521389</c:v>
                </c:pt>
                <c:pt idx="4">
                  <c:v>-0.2596342341028946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Xtreme 3 Sensitive Disposable Razors 4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5.470000000000001</c:v>
                </c:pt>
                <c:pt idx="1">
                  <c:v>5.7700000000000005</c:v>
                </c:pt>
                <c:pt idx="2">
                  <c:v>6.47</c:v>
                </c:pt>
                <c:pt idx="3">
                  <c:v>7.07</c:v>
                </c:pt>
                <c:pt idx="4">
                  <c:v>8.07</c:v>
                </c:pt>
              </c:numCache>
            </c:numRef>
          </c:xVal>
          <c:yVal>
            <c:numRef>
              <c:f>Sheet1!$B$9:$B$13</c:f>
              <c:numCache>
                <c:formatCode>General</c:formatCode>
                <c:ptCount val="5"/>
                <c:pt idx="0">
                  <c:v>0.11237831809305171</c:v>
                </c:pt>
                <c:pt idx="1">
                  <c:v>0.07499693265707238</c:v>
                </c:pt>
                <c:pt idx="2">
                  <c:v>0.0</c:v>
                </c:pt>
                <c:pt idx="3">
                  <c:v>-0.16904405688094434</c:v>
                </c:pt>
                <c:pt idx="4">
                  <c:v>-0.3449688865703182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8.07"/>
          <c:min val="5.470000000000001"/>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Xtreme 2 Sensitive Disposable Razors 24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0.17</c:v>
                </c:pt>
                <c:pt idx="1">
                  <c:v>10.77</c:v>
                </c:pt>
                <c:pt idx="2">
                  <c:v>11.97</c:v>
                </c:pt>
                <c:pt idx="3">
                  <c:v>13.17</c:v>
                </c:pt>
                <c:pt idx="4">
                  <c:v>14.97</c:v>
                </c:pt>
              </c:numCache>
            </c:numRef>
          </c:xVal>
          <c:yVal>
            <c:numRef>
              <c:f>Sheet1!$B$2:$B$6</c:f>
              <c:numCache>
                <c:formatCode>General</c:formatCode>
                <c:ptCount val="5"/>
                <c:pt idx="0">
                  <c:v>0.1879461201574765</c:v>
                </c:pt>
                <c:pt idx="1">
                  <c:v>0.10497146075286164</c:v>
                </c:pt>
                <c:pt idx="2">
                  <c:v>0.0</c:v>
                </c:pt>
                <c:pt idx="3">
                  <c:v>-0.09960373870953829</c:v>
                </c:pt>
                <c:pt idx="4">
                  <c:v>-0.291087956640739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Xtreme 5 Sensitive Disposable Razors 2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5.470000000000001</c:v>
                </c:pt>
                <c:pt idx="1">
                  <c:v>5.7700000000000005</c:v>
                </c:pt>
                <c:pt idx="2">
                  <c:v>6.47</c:v>
                </c:pt>
                <c:pt idx="3">
                  <c:v>7.07</c:v>
                </c:pt>
                <c:pt idx="4">
                  <c:v>8.07</c:v>
                </c:pt>
              </c:numCache>
            </c:numRef>
          </c:xVal>
          <c:yVal>
            <c:numRef>
              <c:f>Sheet1!$B$9:$B$13</c:f>
              <c:numCache>
                <c:formatCode>General</c:formatCode>
                <c:ptCount val="5"/>
                <c:pt idx="0">
                  <c:v>0.10555443836946064</c:v>
                </c:pt>
                <c:pt idx="1">
                  <c:v>0.07073503247958832</c:v>
                </c:pt>
                <c:pt idx="2">
                  <c:v>0.0</c:v>
                </c:pt>
                <c:pt idx="3">
                  <c:v>-0.16206742431874474</c:v>
                </c:pt>
                <c:pt idx="4">
                  <c:v>-0.319952867695768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Xtreme 5 Sensitive Disposable Razors 4 Pack</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0.17</c:v>
                </c:pt>
                <c:pt idx="1">
                  <c:v>10.77</c:v>
                </c:pt>
                <c:pt idx="2">
                  <c:v>11.97</c:v>
                </c:pt>
                <c:pt idx="3">
                  <c:v>13.17</c:v>
                </c:pt>
                <c:pt idx="4">
                  <c:v>14.97</c:v>
                </c:pt>
              </c:numCache>
            </c:numRef>
          </c:xVal>
          <c:yVal>
            <c:numRef>
              <c:f>Sheet1!$B$16:$B$20</c:f>
              <c:numCache>
                <c:formatCode>General</c:formatCode>
                <c:ptCount val="5"/>
                <c:pt idx="0">
                  <c:v>0.23338960643226642</c:v>
                </c:pt>
                <c:pt idx="1">
                  <c:v>0.10979867513050418</c:v>
                </c:pt>
                <c:pt idx="2">
                  <c:v>0.0</c:v>
                </c:pt>
                <c:pt idx="3">
                  <c:v>-0.10038370390586791</c:v>
                </c:pt>
                <c:pt idx="4">
                  <c:v>-0.23061396168087492</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Schick Xtreme 5 Sensitive Disposable Razors 8 Pack</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16.97</c:v>
                </c:pt>
                <c:pt idx="1">
                  <c:v>17.97</c:v>
                </c:pt>
                <c:pt idx="2">
                  <c:v>19.97</c:v>
                </c:pt>
                <c:pt idx="3">
                  <c:v>21.97</c:v>
                </c:pt>
                <c:pt idx="4">
                  <c:v>24.97</c:v>
                </c:pt>
              </c:numCache>
            </c:numRef>
          </c:xVal>
          <c:yVal>
            <c:numRef>
              <c:f>Sheet1!$B$23:$B$27</c:f>
              <c:numCache>
                <c:formatCode>General</c:formatCode>
                <c:ptCount val="5"/>
                <c:pt idx="0">
                  <c:v>0.21857499481305898</c:v>
                </c:pt>
                <c:pt idx="1">
                  <c:v>0.10084857057750089</c:v>
                </c:pt>
                <c:pt idx="2">
                  <c:v>0.0</c:v>
                </c:pt>
                <c:pt idx="3">
                  <c:v>-0.0532937720425452</c:v>
                </c:pt>
                <c:pt idx="4">
                  <c:v>-0.10281293710869634</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Schick Xtreme 3 Body &amp; Groin Disposable Razors 3 Pack</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8.47</c:v>
                </c:pt>
                <c:pt idx="1">
                  <c:v>8.97</c:v>
                </c:pt>
                <c:pt idx="2">
                  <c:v>9.97</c:v>
                </c:pt>
                <c:pt idx="3">
                  <c:v>10.97</c:v>
                </c:pt>
                <c:pt idx="4">
                  <c:v>12.47</c:v>
                </c:pt>
              </c:numCache>
            </c:numRef>
          </c:xVal>
          <c:yVal>
            <c:numRef>
              <c:f>Sheet1!$B$30:$B$34</c:f>
              <c:numCache>
                <c:formatCode>General</c:formatCode>
                <c:ptCount val="5"/>
                <c:pt idx="0">
                  <c:v>0.17507432631031733</c:v>
                </c:pt>
                <c:pt idx="1">
                  <c:v>0.08443175515898921</c:v>
                </c:pt>
                <c:pt idx="2">
                  <c:v>0.0</c:v>
                </c:pt>
                <c:pt idx="3">
                  <c:v>-0.17501407077603987</c:v>
                </c:pt>
                <c:pt idx="4">
                  <c:v>-0.29182619270697485</c:v>
                </c:pt>
              </c:numCache>
            </c:numRef>
          </c:yVal>
          <c:smooth val="0"/>
          <c:extLst>
            <c:ext xmlns:c16="http://schemas.microsoft.com/office/drawing/2014/chart" uri="{C3380CC4-5D6E-409C-BE32-E72D297353CC}">
              <c16:uniqueId val="{0000007D-1ABB-4592-8776-98B59FCA8F1B}"/>
            </c:ext>
          </c:extLst>
        </c:ser>
        <c:ser>
          <c:idx val="7"/>
          <c:order val="5"/>
          <c:tx>
            <c:strRef>
              <c:f>Sheet1!$B$36</c:f>
              <c:strCache>
                <c:ptCount val="1"/>
                <c:pt idx="0">
                  <c:v>Schick Hydro 5 Ultimate Comfort Disposable Razors 3 Pack</c:v>
                </c:pt>
              </c:strCache>
            </c:strRef>
          </c:tx>
          <c:spPr>
            <a:ln w="19050" cap="rnd">
              <a:solidFill>
                <a:srgbClr val="B8B60D"/>
              </a:solidFill>
              <a:round/>
            </a:ln>
            <a:effectLst/>
          </c:spPr>
          <c:marker>
            <c:symbol val="circle"/>
            <c:size val="5"/>
            <c:spPr>
              <a:solidFill>
                <a:srgbClr val="B8B60D"/>
              </a:solidFill>
              <a:ln w="9525">
                <a:solidFill>
                  <a:srgbClr val="FFFFFF"/>
                </a:solidFill>
              </a:ln>
              <a:effectLst/>
            </c:spPr>
          </c:marker>
          <c:dLbls>
            <c:dLbl>
              <c:idx val="0"/>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7:$A$41</c:f>
              <c:numCache>
                <c:formatCode>General</c:formatCode>
                <c:ptCount val="5"/>
                <c:pt idx="0">
                  <c:v>8.47</c:v>
                </c:pt>
                <c:pt idx="1">
                  <c:v>8.97</c:v>
                </c:pt>
                <c:pt idx="2">
                  <c:v>9.97</c:v>
                </c:pt>
                <c:pt idx="3">
                  <c:v>10.97</c:v>
                </c:pt>
                <c:pt idx="4">
                  <c:v>12.47</c:v>
                </c:pt>
              </c:numCache>
            </c:numRef>
          </c:xVal>
          <c:yVal>
            <c:numRef>
              <c:f>Sheet1!$B$37:$B$41</c:f>
              <c:numCache>
                <c:formatCode>General</c:formatCode>
                <c:ptCount val="5"/>
                <c:pt idx="0">
                  <c:v>0.1355910333377988</c:v>
                </c:pt>
                <c:pt idx="1">
                  <c:v>0.06995983772153323</c:v>
                </c:pt>
                <c:pt idx="2">
                  <c:v>0.0</c:v>
                </c:pt>
                <c:pt idx="3">
                  <c:v>-0.15231884668545362</c:v>
                </c:pt>
                <c:pt idx="4">
                  <c:v>-0.25358270986069553</c:v>
                </c:pt>
              </c:numCache>
            </c:numRef>
          </c:yVal>
          <c:smooth val="0"/>
          <c:extLst>
            <c:ext xmlns:c16="http://schemas.microsoft.com/office/drawing/2014/chart" uri="{C3380CC4-5D6E-409C-BE32-E72D297353CC}">
              <c16:uniqueId val="{0000007D-1ABB-4592-8776-98B59FCA8F1B}"/>
            </c:ext>
          </c:extLst>
        </c:ser>
        <c:ser>
          <c:idx val="8"/>
          <c:order val="6"/>
          <c:tx>
            <c:strRef>
              <c:f>Sheet1!$B$43</c:f>
              <c:strCache>
                <c:ptCount val="1"/>
                <c:pt idx="0">
                  <c:v>Schick First 4 Blade Disposable Razors 3 Pack</c:v>
                </c:pt>
              </c:strCache>
            </c:strRef>
          </c:tx>
          <c:spPr>
            <a:ln w="19050" cap="rnd">
              <a:solidFill>
                <a:srgbClr val="008E87"/>
              </a:solidFill>
              <a:round/>
            </a:ln>
            <a:effectLst/>
          </c:spPr>
          <c:marker>
            <c:symbol val="circle"/>
            <c:size val="5"/>
            <c:spPr>
              <a:solidFill>
                <a:srgbClr val="008E87"/>
              </a:solidFill>
              <a:ln w="9525">
                <a:solidFill>
                  <a:srgbClr val="FFFFFF"/>
                </a:solidFill>
              </a:ln>
              <a:effectLst/>
            </c:spPr>
          </c:marker>
          <c:dLbls>
            <c:dLbl>
              <c:idx val="0"/>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44:$A$48</c:f>
              <c:numCache>
                <c:formatCode>General</c:formatCode>
                <c:ptCount val="5"/>
                <c:pt idx="0">
                  <c:v>5.470000000000001</c:v>
                </c:pt>
                <c:pt idx="1">
                  <c:v>5.7700000000000005</c:v>
                </c:pt>
                <c:pt idx="2">
                  <c:v>6.47</c:v>
                </c:pt>
                <c:pt idx="3">
                  <c:v>7.07</c:v>
                </c:pt>
                <c:pt idx="4">
                  <c:v>8.07</c:v>
                </c:pt>
              </c:numCache>
            </c:numRef>
          </c:xVal>
          <c:yVal>
            <c:numRef>
              <c:f>Sheet1!$B$44:$B$48</c:f>
              <c:numCache>
                <c:formatCode>General</c:formatCode>
                <c:ptCount val="5"/>
                <c:pt idx="0">
                  <c:v>0.18536484947090714</c:v>
                </c:pt>
                <c:pt idx="1">
                  <c:v>0.12129968196345203</c:v>
                </c:pt>
                <c:pt idx="2">
                  <c:v>0.0</c:v>
                </c:pt>
                <c:pt idx="3">
                  <c:v>-0.22091986542679226</c:v>
                </c:pt>
                <c:pt idx="4">
                  <c:v>-0.389927894465829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4.97"/>
          <c:min val="5.470000000000001"/>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Xtreme 3 Sensitive Disposable Razors 8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9.27</c:v>
                </c:pt>
                <c:pt idx="1">
                  <c:v>9.870000000000001</c:v>
                </c:pt>
                <c:pt idx="2">
                  <c:v>10.97</c:v>
                </c:pt>
                <c:pt idx="3">
                  <c:v>11.97</c:v>
                </c:pt>
                <c:pt idx="4">
                  <c:v>13.47</c:v>
                </c:pt>
              </c:numCache>
            </c:numRef>
          </c:xVal>
          <c:yVal>
            <c:numRef>
              <c:f>Sheet1!$B$2:$B$6</c:f>
              <c:numCache>
                <c:formatCode>General</c:formatCode>
                <c:ptCount val="5"/>
                <c:pt idx="0">
                  <c:v>0.27189499750506807</c:v>
                </c:pt>
                <c:pt idx="1">
                  <c:v>0.21061913608498026</c:v>
                </c:pt>
                <c:pt idx="2">
                  <c:v>0.0</c:v>
                </c:pt>
                <c:pt idx="3">
                  <c:v>-0.09237430950314762</c:v>
                </c:pt>
                <c:pt idx="4">
                  <c:v>-0.2360847721586534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Xtreme 3 Sensitive Disposable Razors 12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2.57</c:v>
                </c:pt>
                <c:pt idx="1">
                  <c:v>13.47</c:v>
                </c:pt>
                <c:pt idx="2">
                  <c:v>14.97</c:v>
                </c:pt>
                <c:pt idx="3">
                  <c:v>15.97</c:v>
                </c:pt>
                <c:pt idx="4">
                  <c:v>18.57</c:v>
                </c:pt>
              </c:numCache>
            </c:numRef>
          </c:xVal>
          <c:yVal>
            <c:numRef>
              <c:f>Sheet1!$B$9:$B$13</c:f>
              <c:numCache>
                <c:formatCode>General</c:formatCode>
                <c:ptCount val="5"/>
                <c:pt idx="0">
                  <c:v>0.36084804343087873</c:v>
                </c:pt>
                <c:pt idx="1">
                  <c:v>0.20319105363299897</c:v>
                </c:pt>
                <c:pt idx="2">
                  <c:v>0.0</c:v>
                </c:pt>
                <c:pt idx="3">
                  <c:v>-0.14750159689573747</c:v>
                </c:pt>
                <c:pt idx="4">
                  <c:v>-0.391609431986017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8.57"/>
          <c:min val="9.27"/>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Hydro 3 Blade Ultra Sensitive 1 Handle + 4 Cartridges</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8.47</c:v>
                </c:pt>
                <c:pt idx="1">
                  <c:v>8.97</c:v>
                </c:pt>
                <c:pt idx="2">
                  <c:v>9.97</c:v>
                </c:pt>
                <c:pt idx="3">
                  <c:v>10.97</c:v>
                </c:pt>
                <c:pt idx="4">
                  <c:v>12.47</c:v>
                </c:pt>
              </c:numCache>
            </c:numRef>
          </c:xVal>
          <c:yVal>
            <c:numRef>
              <c:f>Sheet1!$B$2:$B$6</c:f>
              <c:numCache>
                <c:formatCode>General</c:formatCode>
                <c:ptCount val="5"/>
                <c:pt idx="0">
                  <c:v>0.14868556690766832</c:v>
                </c:pt>
                <c:pt idx="1">
                  <c:v>0.06639597741961945</c:v>
                </c:pt>
                <c:pt idx="2">
                  <c:v>0.0</c:v>
                </c:pt>
                <c:pt idx="3">
                  <c:v>-0.23236339722033852</c:v>
                </c:pt>
                <c:pt idx="4">
                  <c:v>-0.365119773882637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Hydro 5 Blade Sensitive 1 Handle + 3 Cartridges</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8.47</c:v>
                </c:pt>
                <c:pt idx="1">
                  <c:v>8.97</c:v>
                </c:pt>
                <c:pt idx="2">
                  <c:v>9.97</c:v>
                </c:pt>
                <c:pt idx="3">
                  <c:v>10.97</c:v>
                </c:pt>
                <c:pt idx="4">
                  <c:v>12.47</c:v>
                </c:pt>
              </c:numCache>
            </c:numRef>
          </c:xVal>
          <c:yVal>
            <c:numRef>
              <c:f>Sheet1!$B$9:$B$13</c:f>
              <c:numCache>
                <c:formatCode>General</c:formatCode>
                <c:ptCount val="5"/>
                <c:pt idx="0">
                  <c:v>0.08778073201564478</c:v>
                </c:pt>
                <c:pt idx="1">
                  <c:v>0.04205227708442429</c:v>
                </c:pt>
                <c:pt idx="2">
                  <c:v>0.0</c:v>
                </c:pt>
                <c:pt idx="3">
                  <c:v>-0.154864825840297</c:v>
                </c:pt>
                <c:pt idx="4">
                  <c:v>-0.250673402465905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2.47"/>
          <c:min val="8.47"/>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Hydro 3 Blade Pro Sensitive 1 Handle + 3 Cartridges</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8.47</c:v>
                </c:pt>
                <c:pt idx="1">
                  <c:v>8.97</c:v>
                </c:pt>
                <c:pt idx="2">
                  <c:v>9.97</c:v>
                </c:pt>
                <c:pt idx="3">
                  <c:v>10.97</c:v>
                </c:pt>
                <c:pt idx="4">
                  <c:v>12.47</c:v>
                </c:pt>
              </c:numCache>
            </c:numRef>
          </c:xVal>
          <c:yVal>
            <c:numRef>
              <c:f>Sheet1!$B$2:$B$6</c:f>
              <c:numCache>
                <c:formatCode>General</c:formatCode>
                <c:ptCount val="5"/>
                <c:pt idx="0">
                  <c:v>0.1084594232421426</c:v>
                </c:pt>
                <c:pt idx="1">
                  <c:v>0.05236767363765291</c:v>
                </c:pt>
                <c:pt idx="2">
                  <c:v>0.0</c:v>
                </c:pt>
                <c:pt idx="3">
                  <c:v>-0.16730907326892322</c:v>
                </c:pt>
                <c:pt idx="4">
                  <c:v>-0.272337421009382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Hydro 3 Blade Ingrown Defense 1 Handle + 3 Cartridges</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8.47</c:v>
                </c:pt>
                <c:pt idx="1">
                  <c:v>8.97</c:v>
                </c:pt>
                <c:pt idx="2">
                  <c:v>9.97</c:v>
                </c:pt>
                <c:pt idx="3">
                  <c:v>10.97</c:v>
                </c:pt>
                <c:pt idx="4">
                  <c:v>12.47</c:v>
                </c:pt>
              </c:numCache>
            </c:numRef>
          </c:xVal>
          <c:yVal>
            <c:numRef>
              <c:f>Sheet1!$B$9:$B$13</c:f>
              <c:numCache>
                <c:formatCode>General</c:formatCode>
                <c:ptCount val="5"/>
                <c:pt idx="0">
                  <c:v>0.1026292743078875</c:v>
                </c:pt>
                <c:pt idx="1">
                  <c:v>0.05141508658560817</c:v>
                </c:pt>
                <c:pt idx="2">
                  <c:v>0.0</c:v>
                </c:pt>
                <c:pt idx="3">
                  <c:v>-0.17396391242360668</c:v>
                </c:pt>
                <c:pt idx="4">
                  <c:v>-0.2843862600959267</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Hydro 5 Blade Advanced Hydration 1 Handle + 3 Cartridges</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8.47</c:v>
                </c:pt>
                <c:pt idx="1">
                  <c:v>8.97</c:v>
                </c:pt>
                <c:pt idx="2">
                  <c:v>9.97</c:v>
                </c:pt>
                <c:pt idx="3">
                  <c:v>10.97</c:v>
                </c:pt>
                <c:pt idx="4">
                  <c:v>12.47</c:v>
                </c:pt>
              </c:numCache>
            </c:numRef>
          </c:xVal>
          <c:yVal>
            <c:numRef>
              <c:f>Sheet1!$B$16:$B$20</c:f>
              <c:numCache>
                <c:formatCode>General</c:formatCode>
                <c:ptCount val="5"/>
                <c:pt idx="0">
                  <c:v>0.09006440418286209</c:v>
                </c:pt>
                <c:pt idx="1">
                  <c:v>0.04671412417367902</c:v>
                </c:pt>
                <c:pt idx="2">
                  <c:v>0.0</c:v>
                </c:pt>
                <c:pt idx="3">
                  <c:v>-0.1623458266870879</c:v>
                </c:pt>
                <c:pt idx="4">
                  <c:v>-0.2558627976157633</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Schick Quattro Four Blade 1 Handle + 4 Cartriges</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8.47</c:v>
                </c:pt>
                <c:pt idx="1">
                  <c:v>8.97</c:v>
                </c:pt>
                <c:pt idx="2">
                  <c:v>9.97</c:v>
                </c:pt>
                <c:pt idx="3">
                  <c:v>10.97</c:v>
                </c:pt>
                <c:pt idx="4">
                  <c:v>12.47</c:v>
                </c:pt>
              </c:numCache>
            </c:numRef>
          </c:xVal>
          <c:yVal>
            <c:numRef>
              <c:f>Sheet1!$B$23:$B$27</c:f>
              <c:numCache>
                <c:formatCode>General</c:formatCode>
                <c:ptCount val="5"/>
                <c:pt idx="0">
                  <c:v>0.10769438519193945</c:v>
                </c:pt>
                <c:pt idx="1">
                  <c:v>0.0500723985263564</c:v>
                </c:pt>
                <c:pt idx="2">
                  <c:v>0.0</c:v>
                </c:pt>
                <c:pt idx="3">
                  <c:v>-0.18608352587012483</c:v>
                </c:pt>
                <c:pt idx="4">
                  <c:v>-0.2943759185101156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2.47"/>
          <c:min val="8.47"/>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ic (16.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quate (21.7%)</c:v>
                </c:pt>
                <c:pt idx="1">
                  <c:v>Gillette (38.7%)</c:v>
                </c:pt>
                <c:pt idx="2">
                  <c:v>Schick (11.2%)</c:v>
                </c:pt>
                <c:pt idx="3">
                  <c:v>Harrys (11.2%)</c:v>
                </c:pt>
                <c:pt idx="4">
                  <c:v>Dollar Shave Club (2.9%)</c:v>
                </c:pt>
                <c:pt idx="5">
                  <c:v>Van Der Hagen (2.0%)</c:v>
                </c:pt>
              </c:strCache>
            </c:strRef>
          </c:cat>
          <c:val>
            <c:numRef>
              <c:f>Sheet1!$B$2:$B$7</c:f>
              <c:numCache>
                <c:formatCode>General</c:formatCode>
                <c:ptCount val="6"/>
                <c:pt idx="0">
                  <c:v>0.38416327300171427</c:v>
                </c:pt>
                <c:pt idx="1">
                  <c:v>0.31325362692248926</c:v>
                </c:pt>
                <c:pt idx="2">
                  <c:v>0.18006388135192875</c:v>
                </c:pt>
                <c:pt idx="3">
                  <c:v>0.03547855109975992</c:v>
                </c:pt>
                <c:pt idx="4">
                  <c:v>0.034505951839703584</c:v>
                </c:pt>
                <c:pt idx="5">
                  <c:v>0.01222621966821903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Hydro 5 Blade Sensitive 1 Handle + 5 Cartridges</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3.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2.57</c:v>
                </c:pt>
                <c:pt idx="1">
                  <c:v>13.47</c:v>
                </c:pt>
                <c:pt idx="2">
                  <c:v>14.97</c:v>
                </c:pt>
                <c:pt idx="3">
                  <c:v>15.97</c:v>
                </c:pt>
                <c:pt idx="4">
                  <c:v>18.57</c:v>
                </c:pt>
              </c:numCache>
            </c:numRef>
          </c:xVal>
          <c:yVal>
            <c:numRef>
              <c:f>Sheet1!$B$2:$B$6</c:f>
              <c:numCache>
                <c:formatCode>General</c:formatCode>
                <c:ptCount val="5"/>
                <c:pt idx="0">
                  <c:v>0.3061119765319474</c:v>
                </c:pt>
                <c:pt idx="1">
                  <c:v>0.08544509781182305</c:v>
                </c:pt>
                <c:pt idx="2">
                  <c:v>0.0</c:v>
                </c:pt>
                <c:pt idx="3">
                  <c:v>-0.05569901234298368</c:v>
                </c:pt>
                <c:pt idx="4">
                  <c:v>-0.14099643336560233</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Hydro 5 Blade Sensitive 1 Handle + 8 Cartridges</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6.97</c:v>
                </c:pt>
                <c:pt idx="1">
                  <c:v>17.97</c:v>
                </c:pt>
                <c:pt idx="2">
                  <c:v>19.97</c:v>
                </c:pt>
                <c:pt idx="3">
                  <c:v>21.97</c:v>
                </c:pt>
                <c:pt idx="4">
                  <c:v>24.97</c:v>
                </c:pt>
              </c:numCache>
            </c:numRef>
          </c:xVal>
          <c:yVal>
            <c:numRef>
              <c:f>Sheet1!$B$9:$B$13</c:f>
              <c:numCache>
                <c:formatCode>General</c:formatCode>
                <c:ptCount val="5"/>
                <c:pt idx="0">
                  <c:v>0.0804587773461995</c:v>
                </c:pt>
                <c:pt idx="1">
                  <c:v>0.04585483565955347</c:v>
                </c:pt>
                <c:pt idx="2">
                  <c:v>0.0</c:v>
                </c:pt>
                <c:pt idx="3">
                  <c:v>-0.03595429776601284</c:v>
                </c:pt>
                <c:pt idx="4">
                  <c:v>-0.0922322534498736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Hydro 5 Blade Chrome 1 Handle + 3 Cartridges + Docking Station/Stand + Travel Cover</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6.97</c:v>
                </c:pt>
                <c:pt idx="1">
                  <c:v>17.97</c:v>
                </c:pt>
                <c:pt idx="2">
                  <c:v>19.97</c:v>
                </c:pt>
                <c:pt idx="3">
                  <c:v>21.97</c:v>
                </c:pt>
                <c:pt idx="4">
                  <c:v>24.97</c:v>
                </c:pt>
              </c:numCache>
            </c:numRef>
          </c:xVal>
          <c:yVal>
            <c:numRef>
              <c:f>Sheet1!$B$16:$B$20</c:f>
              <c:numCache>
                <c:formatCode>General</c:formatCode>
                <c:ptCount val="5"/>
                <c:pt idx="0">
                  <c:v>0.05963107865630496</c:v>
                </c:pt>
                <c:pt idx="1">
                  <c:v>0.03609043801477658</c:v>
                </c:pt>
                <c:pt idx="2">
                  <c:v>0.0</c:v>
                </c:pt>
                <c:pt idx="3">
                  <c:v>-0.030699541783719562</c:v>
                </c:pt>
                <c:pt idx="4">
                  <c:v>-0.07852419168299746</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Schick Hydro 5 Groomer 1 Handle + 1 Cartridge</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12.57</c:v>
                </c:pt>
                <c:pt idx="1">
                  <c:v>13.47</c:v>
                </c:pt>
                <c:pt idx="2">
                  <c:v>14.97</c:v>
                </c:pt>
                <c:pt idx="3">
                  <c:v>15.97</c:v>
                </c:pt>
                <c:pt idx="4">
                  <c:v>18.57</c:v>
                </c:pt>
              </c:numCache>
            </c:numRef>
          </c:xVal>
          <c:yVal>
            <c:numRef>
              <c:f>Sheet1!$B$23:$B$27</c:f>
              <c:numCache>
                <c:formatCode>General</c:formatCode>
                <c:ptCount val="5"/>
                <c:pt idx="0">
                  <c:v>0.20254615641979146</c:v>
                </c:pt>
                <c:pt idx="1">
                  <c:v>0.05554322110409066</c:v>
                </c:pt>
                <c:pt idx="2">
                  <c:v>0.0</c:v>
                </c:pt>
                <c:pt idx="3">
                  <c:v>-0.048597767169512356</c:v>
                </c:pt>
                <c:pt idx="4">
                  <c:v>-0.10804078981695989</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Wilkinson Sword Classic Double Edge 1 Handle + 5 Cartridges</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12.57</c:v>
                </c:pt>
                <c:pt idx="1">
                  <c:v>13.47</c:v>
                </c:pt>
                <c:pt idx="2">
                  <c:v>14.97</c:v>
                </c:pt>
                <c:pt idx="3">
                  <c:v>15.97</c:v>
                </c:pt>
                <c:pt idx="4">
                  <c:v>18.57</c:v>
                </c:pt>
              </c:numCache>
            </c:numRef>
          </c:xVal>
          <c:yVal>
            <c:numRef>
              <c:f>Sheet1!$B$30:$B$34</c:f>
              <c:numCache>
                <c:formatCode>General</c:formatCode>
                <c:ptCount val="5"/>
                <c:pt idx="0">
                  <c:v>0.20776412437450645</c:v>
                </c:pt>
                <c:pt idx="1">
                  <c:v>0.06690612164722677</c:v>
                </c:pt>
                <c:pt idx="2">
                  <c:v>0.0</c:v>
                </c:pt>
                <c:pt idx="3">
                  <c:v>-0.06752638909076299</c:v>
                </c:pt>
                <c:pt idx="4">
                  <c:v>-0.1435061548178980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4.97"/>
          <c:min val="12.57"/>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Equate 2 Blade Disposable Razors 5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0.77</c:v>
                </c:pt>
                <c:pt idx="1">
                  <c:v>0.87</c:v>
                </c:pt>
                <c:pt idx="2">
                  <c:v>0.98</c:v>
                </c:pt>
                <c:pt idx="3">
                  <c:v>1.07</c:v>
                </c:pt>
                <c:pt idx="4">
                  <c:v>1.27</c:v>
                </c:pt>
              </c:numCache>
            </c:numRef>
          </c:xVal>
          <c:yVal>
            <c:numRef>
              <c:f>Sheet1!$B$2:$B$6</c:f>
              <c:numCache>
                <c:formatCode>General</c:formatCode>
                <c:ptCount val="5"/>
                <c:pt idx="0">
                  <c:v>0.027339158021221083</c:v>
                </c:pt>
                <c:pt idx="1">
                  <c:v>0.014231814891517501</c:v>
                </c:pt>
                <c:pt idx="2">
                  <c:v>0.0</c:v>
                </c:pt>
                <c:pt idx="3">
                  <c:v>-0.011499960365236424</c:v>
                </c:pt>
                <c:pt idx="4">
                  <c:v>-0.036594067184720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Equate 2 Blade Disposable Razors 12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77</c:v>
                </c:pt>
                <c:pt idx="1">
                  <c:v>1.97</c:v>
                </c:pt>
                <c:pt idx="2">
                  <c:v>2.17</c:v>
                </c:pt>
                <c:pt idx="3">
                  <c:v>2.37</c:v>
                </c:pt>
                <c:pt idx="4">
                  <c:v>2.67</c:v>
                </c:pt>
              </c:numCache>
            </c:numRef>
          </c:xVal>
          <c:yVal>
            <c:numRef>
              <c:f>Sheet1!$B$9:$B$13</c:f>
              <c:numCache>
                <c:formatCode>General</c:formatCode>
                <c:ptCount val="5"/>
                <c:pt idx="0">
                  <c:v>0.020382753148779666</c:v>
                </c:pt>
                <c:pt idx="1">
                  <c:v>0.01011983709553817</c:v>
                </c:pt>
                <c:pt idx="2">
                  <c:v>0.0</c:v>
                </c:pt>
                <c:pt idx="3">
                  <c:v>-0.009980020514313664</c:v>
                </c:pt>
                <c:pt idx="4">
                  <c:v>-0.02469476381663295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67"/>
          <c:min val="0.77"/>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Equate 2 Blade Disposable Razors 20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7</c:v>
                </c:pt>
                <c:pt idx="1">
                  <c:v>3.07</c:v>
                </c:pt>
                <c:pt idx="2">
                  <c:v>3.47</c:v>
                </c:pt>
                <c:pt idx="3">
                  <c:v>3.77</c:v>
                </c:pt>
                <c:pt idx="4">
                  <c:v>4.170000000000001</c:v>
                </c:pt>
              </c:numCache>
            </c:numRef>
          </c:xVal>
          <c:yVal>
            <c:numRef>
              <c:f>Sheet1!$B$2:$B$6</c:f>
              <c:numCache>
                <c:formatCode>General</c:formatCode>
                <c:ptCount val="5"/>
                <c:pt idx="0">
                  <c:v>0.08722929779521602</c:v>
                </c:pt>
                <c:pt idx="1">
                  <c:v>0.0485059712708603</c:v>
                </c:pt>
                <c:pt idx="2">
                  <c:v>0.0</c:v>
                </c:pt>
                <c:pt idx="3">
                  <c:v>-0.03422540110859089</c:v>
                </c:pt>
                <c:pt idx="4">
                  <c:v>-0.0808207185496300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Equate Caliber 3 Disposable Razors 6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5.470000000000001</c:v>
                </c:pt>
                <c:pt idx="1">
                  <c:v>5.7700000000000005</c:v>
                </c:pt>
                <c:pt idx="2">
                  <c:v>6.47</c:v>
                </c:pt>
                <c:pt idx="3">
                  <c:v>7.07</c:v>
                </c:pt>
                <c:pt idx="4">
                  <c:v>8.07</c:v>
                </c:pt>
              </c:numCache>
            </c:numRef>
          </c:xVal>
          <c:yVal>
            <c:numRef>
              <c:f>Sheet1!$B$9:$B$13</c:f>
              <c:numCache>
                <c:formatCode>General</c:formatCode>
                <c:ptCount val="5"/>
                <c:pt idx="0">
                  <c:v>0.23295095995308282</c:v>
                </c:pt>
                <c:pt idx="1">
                  <c:v>0.15149813445677193</c:v>
                </c:pt>
                <c:pt idx="2">
                  <c:v>0.0</c:v>
                </c:pt>
                <c:pt idx="3">
                  <c:v>-0.2854722653657587</c:v>
                </c:pt>
                <c:pt idx="4">
                  <c:v>-0.437393130645313</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Equate Caliber 5 Disposable Razors 6 Pack</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7.07</c:v>
                </c:pt>
                <c:pt idx="1">
                  <c:v>7.37</c:v>
                </c:pt>
                <c:pt idx="2">
                  <c:v>8.37</c:v>
                </c:pt>
                <c:pt idx="3">
                  <c:v>9.27</c:v>
                </c:pt>
                <c:pt idx="4">
                  <c:v>10.47</c:v>
                </c:pt>
              </c:numCache>
            </c:numRef>
          </c:xVal>
          <c:yVal>
            <c:numRef>
              <c:f>Sheet1!$B$16:$B$20</c:f>
              <c:numCache>
                <c:formatCode>General</c:formatCode>
                <c:ptCount val="5"/>
                <c:pt idx="0">
                  <c:v>0.22464323129209235</c:v>
                </c:pt>
                <c:pt idx="1">
                  <c:v>0.1679506325322528</c:v>
                </c:pt>
                <c:pt idx="2">
                  <c:v>0.0</c:v>
                </c:pt>
                <c:pt idx="3">
                  <c:v>-0.11184632051810516</c:v>
                </c:pt>
                <c:pt idx="4">
                  <c:v>-0.2248413931990726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0.47"/>
          <c:min val="2.77"/>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Equate Caliber 3 Disposable Razors 3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47</c:v>
                </c:pt>
                <c:pt idx="1">
                  <c:v>3.77</c:v>
                </c:pt>
                <c:pt idx="2">
                  <c:v>4.17</c:v>
                </c:pt>
                <c:pt idx="3">
                  <c:v>4.57</c:v>
                </c:pt>
                <c:pt idx="4">
                  <c:v>4.970000000000001</c:v>
                </c:pt>
              </c:numCache>
            </c:numRef>
          </c:xVal>
          <c:yVal>
            <c:numRef>
              <c:f>Sheet1!$B$2:$B$6</c:f>
              <c:numCache>
                <c:formatCode>General</c:formatCode>
                <c:ptCount val="5"/>
                <c:pt idx="0">
                  <c:v>0.05504766813424907</c:v>
                </c:pt>
                <c:pt idx="1">
                  <c:v>0.023351296320017225</c:v>
                </c:pt>
                <c:pt idx="2">
                  <c:v>0.0</c:v>
                </c:pt>
                <c:pt idx="3">
                  <c:v>-0.02241386625681842</c:v>
                </c:pt>
                <c:pt idx="4">
                  <c:v>-0.07492527103549375</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Equate Caliber 5 Disposable Razors 3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4.57</c:v>
                </c:pt>
                <c:pt idx="1">
                  <c:v>4.87</c:v>
                </c:pt>
                <c:pt idx="2">
                  <c:v>5.47</c:v>
                </c:pt>
                <c:pt idx="3">
                  <c:v>5.970000000000001</c:v>
                </c:pt>
                <c:pt idx="4">
                  <c:v>6.7700000000000005</c:v>
                </c:pt>
              </c:numCache>
            </c:numRef>
          </c:xVal>
          <c:yVal>
            <c:numRef>
              <c:f>Sheet1!$B$9:$B$13</c:f>
              <c:numCache>
                <c:formatCode>General</c:formatCode>
                <c:ptCount val="5"/>
                <c:pt idx="0">
                  <c:v>0.13078965723388702</c:v>
                </c:pt>
                <c:pt idx="1">
                  <c:v>0.08479395383508787</c:v>
                </c:pt>
                <c:pt idx="2">
                  <c:v>0.0</c:v>
                </c:pt>
                <c:pt idx="3">
                  <c:v>-0.11760963731333028</c:v>
                </c:pt>
                <c:pt idx="4">
                  <c:v>-0.3351125044391905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6.7700000000000005"/>
          <c:min val="3.47"/>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Equate Speed 3 Disposable Razors 4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37</c:v>
                </c:pt>
                <c:pt idx="1">
                  <c:v>3.57</c:v>
                </c:pt>
                <c:pt idx="2">
                  <c:v>3.97</c:v>
                </c:pt>
                <c:pt idx="3">
                  <c:v>4.37</c:v>
                </c:pt>
                <c:pt idx="4">
                  <c:v>4.970000000000001</c:v>
                </c:pt>
              </c:numCache>
            </c:numRef>
          </c:xVal>
          <c:yVal>
            <c:numRef>
              <c:f>Sheet1!$B$2:$B$6</c:f>
              <c:numCache>
                <c:formatCode>General</c:formatCode>
                <c:ptCount val="5"/>
                <c:pt idx="0">
                  <c:v>0.06260563091354249</c:v>
                </c:pt>
                <c:pt idx="1">
                  <c:v>0.037834587491796745</c:v>
                </c:pt>
                <c:pt idx="2">
                  <c:v>0.0</c:v>
                </c:pt>
                <c:pt idx="3">
                  <c:v>-0.026871966219361842</c:v>
                </c:pt>
                <c:pt idx="4">
                  <c:v>-0.0921527103742301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Equate Speed 3 Disposable Razors 8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4.970000000000001</c:v>
                </c:pt>
                <c:pt idx="1">
                  <c:v>5.37</c:v>
                </c:pt>
                <c:pt idx="2">
                  <c:v>5.97</c:v>
                </c:pt>
                <c:pt idx="3">
                  <c:v>6.57</c:v>
                </c:pt>
                <c:pt idx="4">
                  <c:v>7.37</c:v>
                </c:pt>
              </c:numCache>
            </c:numRef>
          </c:xVal>
          <c:yVal>
            <c:numRef>
              <c:f>Sheet1!$B$9:$B$13</c:f>
              <c:numCache>
                <c:formatCode>General</c:formatCode>
                <c:ptCount val="5"/>
                <c:pt idx="0">
                  <c:v>0.13156707068392992</c:v>
                </c:pt>
                <c:pt idx="1">
                  <c:v>0.09044100300345878</c:v>
                </c:pt>
                <c:pt idx="2">
                  <c:v>0.0</c:v>
                </c:pt>
                <c:pt idx="3">
                  <c:v>-0.11290514748876378</c:v>
                </c:pt>
                <c:pt idx="4">
                  <c:v>-0.335585886475627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7.37"/>
          <c:min val="3.37"/>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Equate 5 Blades 1 Handle + 2 Cartridges</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6.7700000000000005</c:v>
                </c:pt>
                <c:pt idx="1">
                  <c:v>7.2700000000000005</c:v>
                </c:pt>
                <c:pt idx="2">
                  <c:v>7.97</c:v>
                </c:pt>
                <c:pt idx="3">
                  <c:v>8.77</c:v>
                </c:pt>
                <c:pt idx="4">
                  <c:v>9.97</c:v>
                </c:pt>
              </c:numCache>
            </c:numRef>
          </c:xVal>
          <c:yVal>
            <c:numRef>
              <c:f>Sheet1!$B$2:$B$6</c:f>
              <c:numCache>
                <c:formatCode>General</c:formatCode>
                <c:ptCount val="5"/>
                <c:pt idx="0">
                  <c:v>0.32480408461099763</c:v>
                </c:pt>
                <c:pt idx="1">
                  <c:v>0.16005480274962292</c:v>
                </c:pt>
                <c:pt idx="2">
                  <c:v>0.0</c:v>
                </c:pt>
                <c:pt idx="3">
                  <c:v>-0.12985892763921617</c:v>
                </c:pt>
                <c:pt idx="4">
                  <c:v>-0.2084535571786578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Equate Easy Fit 5 blades 1 Handle + 5 Cartridges</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0.17</c:v>
                </c:pt>
                <c:pt idx="1">
                  <c:v>10.77</c:v>
                </c:pt>
                <c:pt idx="2">
                  <c:v>11.97</c:v>
                </c:pt>
                <c:pt idx="3">
                  <c:v>13.17</c:v>
                </c:pt>
                <c:pt idx="4">
                  <c:v>14.97</c:v>
                </c:pt>
              </c:numCache>
            </c:numRef>
          </c:xVal>
          <c:yVal>
            <c:numRef>
              <c:f>Sheet1!$B$9:$B$13</c:f>
              <c:numCache>
                <c:formatCode>General</c:formatCode>
                <c:ptCount val="5"/>
                <c:pt idx="0">
                  <c:v>0.16465547994106614</c:v>
                </c:pt>
                <c:pt idx="1">
                  <c:v>0.0825727624913078</c:v>
                </c:pt>
                <c:pt idx="2">
                  <c:v>0.0</c:v>
                </c:pt>
                <c:pt idx="3">
                  <c:v>-0.09182760608703806</c:v>
                </c:pt>
                <c:pt idx="4">
                  <c:v>-0.1674928541169617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4.97"/>
          <c:min val="6.7700000000000005"/>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Equate Easy Fit 5 blades 1 Handle + 2 Cartridges</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6.7700000000000005</c:v>
                </c:pt>
                <c:pt idx="1">
                  <c:v>7.2700000000000005</c:v>
                </c:pt>
                <c:pt idx="2">
                  <c:v>7.97</c:v>
                </c:pt>
                <c:pt idx="3">
                  <c:v>8.77</c:v>
                </c:pt>
                <c:pt idx="4">
                  <c:v>9.97</c:v>
                </c:pt>
              </c:numCache>
            </c:numRef>
          </c:xVal>
          <c:yVal>
            <c:numRef>
              <c:f>Sheet1!$B$2:$B$6</c:f>
              <c:numCache>
                <c:formatCode>General</c:formatCode>
                <c:ptCount val="5"/>
                <c:pt idx="0">
                  <c:v>0.19374800945326123</c:v>
                </c:pt>
                <c:pt idx="1">
                  <c:v>0.09608874969505476</c:v>
                </c:pt>
                <c:pt idx="2">
                  <c:v>0.0</c:v>
                </c:pt>
                <c:pt idx="3">
                  <c:v>-0.0955177368172672</c:v>
                </c:pt>
                <c:pt idx="4">
                  <c:v>-0.1568691482261674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9.97"/>
          <c:min val="6.7700000000000005"/>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Hydro 3 Blade Ultra Sensitive Refills 5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8.47</c:v>
                </c:pt>
                <c:pt idx="1">
                  <c:v>8.97</c:v>
                </c:pt>
                <c:pt idx="2">
                  <c:v>9.97</c:v>
                </c:pt>
                <c:pt idx="3">
                  <c:v>10.97</c:v>
                </c:pt>
                <c:pt idx="4">
                  <c:v>12.47</c:v>
                </c:pt>
              </c:numCache>
            </c:numRef>
          </c:xVal>
          <c:yVal>
            <c:numRef>
              <c:f>Sheet1!$B$2:$B$6</c:f>
              <c:numCache>
                <c:formatCode>General</c:formatCode>
                <c:ptCount val="5"/>
                <c:pt idx="0">
                  <c:v>0.06396874341112568</c:v>
                </c:pt>
                <c:pt idx="1">
                  <c:v>0.03564669942592041</c:v>
                </c:pt>
                <c:pt idx="2">
                  <c:v>0.0</c:v>
                </c:pt>
                <c:pt idx="3">
                  <c:v>-0.07688234103416745</c:v>
                </c:pt>
                <c:pt idx="4">
                  <c:v>-0.312574112866659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Hydro 5 Blade Sensitive Refills 6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2.57</c:v>
                </c:pt>
                <c:pt idx="1">
                  <c:v>13.47</c:v>
                </c:pt>
                <c:pt idx="2">
                  <c:v>14.97</c:v>
                </c:pt>
                <c:pt idx="3">
                  <c:v>15.97</c:v>
                </c:pt>
                <c:pt idx="4">
                  <c:v>18.57</c:v>
                </c:pt>
              </c:numCache>
            </c:numRef>
          </c:xVal>
          <c:yVal>
            <c:numRef>
              <c:f>Sheet1!$B$9:$B$13</c:f>
              <c:numCache>
                <c:formatCode>General</c:formatCode>
                <c:ptCount val="5"/>
                <c:pt idx="0">
                  <c:v>0.09701776196631832</c:v>
                </c:pt>
                <c:pt idx="1">
                  <c:v>0.054699585228571754</c:v>
                </c:pt>
                <c:pt idx="2">
                  <c:v>0.0</c:v>
                </c:pt>
                <c:pt idx="3">
                  <c:v>-0.035248623486349565</c:v>
                </c:pt>
                <c:pt idx="4">
                  <c:v>-0.17714436026774763</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Hydro 5 Blade Sensitive Refills 12 Pack</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2.97</c:v>
                </c:pt>
                <c:pt idx="1">
                  <c:v>23.97</c:v>
                </c:pt>
                <c:pt idx="2">
                  <c:v>26.97</c:v>
                </c:pt>
                <c:pt idx="3">
                  <c:v>29.67</c:v>
                </c:pt>
                <c:pt idx="4">
                  <c:v>34.169999999999995</c:v>
                </c:pt>
              </c:numCache>
            </c:numRef>
          </c:xVal>
          <c:yVal>
            <c:numRef>
              <c:f>Sheet1!$B$16:$B$20</c:f>
              <c:numCache>
                <c:formatCode>General</c:formatCode>
                <c:ptCount val="5"/>
                <c:pt idx="0">
                  <c:v>0.1902004861745371</c:v>
                </c:pt>
                <c:pt idx="1">
                  <c:v>0.14528550416445754</c:v>
                </c:pt>
                <c:pt idx="2">
                  <c:v>0.0</c:v>
                </c:pt>
                <c:pt idx="3">
                  <c:v>-0.06257532614361025</c:v>
                </c:pt>
                <c:pt idx="4">
                  <c:v>-0.1553508716669801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4.169999999999995"/>
          <c:min val="8.47"/>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Hydro 3 Blade Pro Sensitive Refills 6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8.47</c:v>
                </c:pt>
                <c:pt idx="1">
                  <c:v>8.97</c:v>
                </c:pt>
                <c:pt idx="2">
                  <c:v>9.97</c:v>
                </c:pt>
                <c:pt idx="3">
                  <c:v>10.97</c:v>
                </c:pt>
                <c:pt idx="4">
                  <c:v>12.47</c:v>
                </c:pt>
              </c:numCache>
            </c:numRef>
          </c:xVal>
          <c:yVal>
            <c:numRef>
              <c:f>Sheet1!$B$2:$B$6</c:f>
              <c:numCache>
                <c:formatCode>General</c:formatCode>
                <c:ptCount val="5"/>
                <c:pt idx="0">
                  <c:v>0.04955642952862407</c:v>
                </c:pt>
                <c:pt idx="1">
                  <c:v>0.02563532586028019</c:v>
                </c:pt>
                <c:pt idx="2">
                  <c:v>0.0</c:v>
                </c:pt>
                <c:pt idx="3">
                  <c:v>-0.054319702170760126</c:v>
                </c:pt>
                <c:pt idx="4">
                  <c:v>-0.2458927446344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Hydro 5 Blade Sensitive Refills 4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8.47</c:v>
                </c:pt>
                <c:pt idx="1">
                  <c:v>8.97</c:v>
                </c:pt>
                <c:pt idx="2">
                  <c:v>9.97</c:v>
                </c:pt>
                <c:pt idx="3">
                  <c:v>10.97</c:v>
                </c:pt>
                <c:pt idx="4">
                  <c:v>11.97</c:v>
                </c:pt>
              </c:numCache>
            </c:numRef>
          </c:xVal>
          <c:yVal>
            <c:numRef>
              <c:f>Sheet1!$B$9:$B$13</c:f>
              <c:numCache>
                <c:formatCode>General</c:formatCode>
                <c:ptCount val="5"/>
                <c:pt idx="0">
                  <c:v>0.06444348094977129</c:v>
                </c:pt>
                <c:pt idx="1">
                  <c:v>0.03210934209054589</c:v>
                </c:pt>
                <c:pt idx="2">
                  <c:v>0.0</c:v>
                </c:pt>
                <c:pt idx="3">
                  <c:v>-0.0531856892631962</c:v>
                </c:pt>
                <c:pt idx="4">
                  <c:v>-0.1672026789237067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Quattro Four Blade Refills 3 Pack</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4.170000000000001</c:v>
                </c:pt>
                <c:pt idx="1">
                  <c:v>4.37</c:v>
                </c:pt>
                <c:pt idx="2">
                  <c:v>4.97</c:v>
                </c:pt>
                <c:pt idx="3">
                  <c:v>5.470000000000001</c:v>
                </c:pt>
                <c:pt idx="4">
                  <c:v>6.170000000000001</c:v>
                </c:pt>
              </c:numCache>
            </c:numRef>
          </c:xVal>
          <c:yVal>
            <c:numRef>
              <c:f>Sheet1!$B$16:$B$20</c:f>
              <c:numCache>
                <c:formatCode>General</c:formatCode>
                <c:ptCount val="5"/>
                <c:pt idx="0">
                  <c:v>0.12127686428528732</c:v>
                </c:pt>
                <c:pt idx="1">
                  <c:v>0.09006488648996322</c:v>
                </c:pt>
                <c:pt idx="2">
                  <c:v>0.0</c:v>
                </c:pt>
                <c:pt idx="3">
                  <c:v>-0.1938876701087778</c:v>
                </c:pt>
                <c:pt idx="4">
                  <c:v>-0.4086479382865042</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Schick Quattro Four Blade Refills 6 Pack</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8.47</c:v>
                </c:pt>
                <c:pt idx="1">
                  <c:v>8.97</c:v>
                </c:pt>
                <c:pt idx="2">
                  <c:v>9.97</c:v>
                </c:pt>
                <c:pt idx="3">
                  <c:v>10.97</c:v>
                </c:pt>
                <c:pt idx="4">
                  <c:v>11.97</c:v>
                </c:pt>
              </c:numCache>
            </c:numRef>
          </c:xVal>
          <c:yVal>
            <c:numRef>
              <c:f>Sheet1!$B$23:$B$27</c:f>
              <c:numCache>
                <c:formatCode>General</c:formatCode>
                <c:ptCount val="5"/>
                <c:pt idx="0">
                  <c:v>0.06517769474188038</c:v>
                </c:pt>
                <c:pt idx="1">
                  <c:v>0.036127869205548606</c:v>
                </c:pt>
                <c:pt idx="2">
                  <c:v>0.0</c:v>
                </c:pt>
                <c:pt idx="3">
                  <c:v>-0.07605744891792249</c:v>
                </c:pt>
                <c:pt idx="4">
                  <c:v>-0.1885991068659849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2.47"/>
          <c:min val="4.170000000000001"/>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Hydro 3 Blade Ingrown Defense Refills 6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2.57</c:v>
                </c:pt>
                <c:pt idx="1">
                  <c:v>13.47</c:v>
                </c:pt>
                <c:pt idx="2">
                  <c:v>14.97</c:v>
                </c:pt>
                <c:pt idx="3">
                  <c:v>15.97</c:v>
                </c:pt>
                <c:pt idx="4">
                  <c:v>18.57</c:v>
                </c:pt>
              </c:numCache>
            </c:numRef>
          </c:xVal>
          <c:yVal>
            <c:numRef>
              <c:f>Sheet1!$B$2:$B$6</c:f>
              <c:numCache>
                <c:formatCode>General</c:formatCode>
                <c:ptCount val="5"/>
                <c:pt idx="0">
                  <c:v>0.15309569431544134</c:v>
                </c:pt>
                <c:pt idx="1">
                  <c:v>0.09379904935641013</c:v>
                </c:pt>
                <c:pt idx="2">
                  <c:v>0.0</c:v>
                </c:pt>
                <c:pt idx="3">
                  <c:v>-0.06443286433611575</c:v>
                </c:pt>
                <c:pt idx="4">
                  <c:v>-0.2709169242739115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Hydro 5 Blade Advanced Hydration Refills 6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2.57</c:v>
                </c:pt>
                <c:pt idx="1">
                  <c:v>13.47</c:v>
                </c:pt>
                <c:pt idx="2">
                  <c:v>14.97</c:v>
                </c:pt>
                <c:pt idx="3">
                  <c:v>15.97</c:v>
                </c:pt>
                <c:pt idx="4">
                  <c:v>18.57</c:v>
                </c:pt>
              </c:numCache>
            </c:numRef>
          </c:xVal>
          <c:yVal>
            <c:numRef>
              <c:f>Sheet1!$B$9:$B$13</c:f>
              <c:numCache>
                <c:formatCode>General</c:formatCode>
                <c:ptCount val="5"/>
                <c:pt idx="0">
                  <c:v>0.13970961196463527</c:v>
                </c:pt>
                <c:pt idx="1">
                  <c:v>0.08248387462614667</c:v>
                </c:pt>
                <c:pt idx="2">
                  <c:v>0.0</c:v>
                </c:pt>
                <c:pt idx="3">
                  <c:v>-0.0548797567824763</c:v>
                </c:pt>
                <c:pt idx="4">
                  <c:v>-0.247484260603579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Hydro 5 Blade Chrome Refills 6 Pack</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2.57</c:v>
                </c:pt>
                <c:pt idx="1">
                  <c:v>13.47</c:v>
                </c:pt>
                <c:pt idx="2">
                  <c:v>14.97</c:v>
                </c:pt>
                <c:pt idx="3">
                  <c:v>15.97</c:v>
                </c:pt>
                <c:pt idx="4">
                  <c:v>18.57</c:v>
                </c:pt>
              </c:numCache>
            </c:numRef>
          </c:xVal>
          <c:yVal>
            <c:numRef>
              <c:f>Sheet1!$B$16:$B$20</c:f>
              <c:numCache>
                <c:formatCode>General</c:formatCode>
                <c:ptCount val="5"/>
                <c:pt idx="0">
                  <c:v>0.10900826648015328</c:v>
                </c:pt>
                <c:pt idx="1">
                  <c:v>0.061148770879385084</c:v>
                </c:pt>
                <c:pt idx="2">
                  <c:v>0.0</c:v>
                </c:pt>
                <c:pt idx="3">
                  <c:v>-0.05111110999930411</c:v>
                </c:pt>
                <c:pt idx="4">
                  <c:v>-0.1818674838093680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8.57"/>
          <c:min val="12.57"/>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arrys (1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 (38.7%)</c:v>
                </c:pt>
                <c:pt idx="1">
                  <c:v>Dollar Shave Club (2.9%)</c:v>
                </c:pt>
                <c:pt idx="2">
                  <c:v>Bic (16.9%)</c:v>
                </c:pt>
                <c:pt idx="3">
                  <c:v>Equate (21.7%)</c:v>
                </c:pt>
                <c:pt idx="4">
                  <c:v>Schick (11.2%)</c:v>
                </c:pt>
                <c:pt idx="5">
                  <c:v>Van Der Hagen (2.0%)</c:v>
                </c:pt>
              </c:strCache>
            </c:strRef>
          </c:cat>
          <c:val>
            <c:numRef>
              <c:f>Sheet1!$B$2:$B$7</c:f>
              <c:numCache>
                <c:formatCode>General</c:formatCode>
                <c:ptCount val="6"/>
                <c:pt idx="0">
                  <c:v>0.17885668077599565</c:v>
                </c:pt>
                <c:pt idx="1">
                  <c:v>0.172263107188716</c:v>
                </c:pt>
                <c:pt idx="2">
                  <c:v>0.10737719928971745</c:v>
                </c:pt>
                <c:pt idx="3">
                  <c:v>0.08509965372475828</c:v>
                </c:pt>
                <c:pt idx="4">
                  <c:v>0.04099455362535581</c:v>
                </c:pt>
                <c:pt idx="5">
                  <c:v>0.03008665794069141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Equate 5 Blades Blade Refills 4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6.7700000000000005</c:v>
                </c:pt>
                <c:pt idx="1">
                  <c:v>7.2700000000000005</c:v>
                </c:pt>
                <c:pt idx="2">
                  <c:v>7.97</c:v>
                </c:pt>
                <c:pt idx="3">
                  <c:v>8.77</c:v>
                </c:pt>
                <c:pt idx="4">
                  <c:v>9.97</c:v>
                </c:pt>
              </c:numCache>
            </c:numRef>
          </c:xVal>
          <c:yVal>
            <c:numRef>
              <c:f>Sheet1!$B$2:$B$6</c:f>
              <c:numCache>
                <c:formatCode>General</c:formatCode>
                <c:ptCount val="5"/>
                <c:pt idx="0">
                  <c:v>0.21843719091767316</c:v>
                </c:pt>
                <c:pt idx="1">
                  <c:v>0.09066553658459604</c:v>
                </c:pt>
                <c:pt idx="2">
                  <c:v>0.0</c:v>
                </c:pt>
                <c:pt idx="3">
                  <c:v>-0.040517477461250326</c:v>
                </c:pt>
                <c:pt idx="4">
                  <c:v>-0.0858783366448519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9.97"/>
          <c:min val="6.7700000000000005"/>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Equate Easy Fit 5 Blade Refills 4 Pack</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7.57</c:v>
                </c:pt>
                <c:pt idx="1">
                  <c:v>8.07</c:v>
                </c:pt>
                <c:pt idx="2">
                  <c:v>8.97</c:v>
                </c:pt>
                <c:pt idx="3">
                  <c:v>9.870000000000001</c:v>
                </c:pt>
                <c:pt idx="4">
                  <c:v>10.97</c:v>
                </c:pt>
              </c:numCache>
            </c:numRef>
          </c:xVal>
          <c:yVal>
            <c:numRef>
              <c:f>Sheet1!$B$2:$B$6</c:f>
              <c:numCache>
                <c:formatCode>General</c:formatCode>
                <c:ptCount val="5"/>
                <c:pt idx="0">
                  <c:v>0.07008868919391005</c:v>
                </c:pt>
                <c:pt idx="1">
                  <c:v>0.04427465816477435</c:v>
                </c:pt>
                <c:pt idx="2">
                  <c:v>0.0</c:v>
                </c:pt>
                <c:pt idx="3">
                  <c:v>-0.03059957570673548</c:v>
                </c:pt>
                <c:pt idx="4">
                  <c:v>-0.0989713711566237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Equate Easy Fit 5 Blade Refills 8 Pack</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3.47</c:v>
                </c:pt>
                <c:pt idx="1">
                  <c:v>13.97</c:v>
                </c:pt>
                <c:pt idx="2">
                  <c:v>15.97</c:v>
                </c:pt>
                <c:pt idx="3">
                  <c:v>17.97</c:v>
                </c:pt>
                <c:pt idx="4">
                  <c:v>19.97</c:v>
                </c:pt>
              </c:numCache>
            </c:numRef>
          </c:xVal>
          <c:yVal>
            <c:numRef>
              <c:f>Sheet1!$B$9:$B$13</c:f>
              <c:numCache>
                <c:formatCode>General</c:formatCode>
                <c:ptCount val="5"/>
                <c:pt idx="0">
                  <c:v>0.11616457852638612</c:v>
                </c:pt>
                <c:pt idx="1">
                  <c:v>0.09271958291480406</c:v>
                </c:pt>
                <c:pt idx="2">
                  <c:v>0.0</c:v>
                </c:pt>
                <c:pt idx="3">
                  <c:v>-0.1377509843916325</c:v>
                </c:pt>
                <c:pt idx="4">
                  <c:v>-0.2116262181224225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Equate Easy Fit 5 Blade Refills 12 Pack</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6.97</c:v>
                </c:pt>
                <c:pt idx="1">
                  <c:v>17.97</c:v>
                </c:pt>
                <c:pt idx="2">
                  <c:v>19.97</c:v>
                </c:pt>
                <c:pt idx="3">
                  <c:v>21.97</c:v>
                </c:pt>
                <c:pt idx="4">
                  <c:v>22.97</c:v>
                </c:pt>
              </c:numCache>
            </c:numRef>
          </c:xVal>
          <c:yVal>
            <c:numRef>
              <c:f>Sheet1!$B$16:$B$20</c:f>
              <c:numCache>
                <c:formatCode>General</c:formatCode>
                <c:ptCount val="5"/>
                <c:pt idx="0">
                  <c:v>0.1467765608891175</c:v>
                </c:pt>
                <c:pt idx="1">
                  <c:v>0.08562325046921342</c:v>
                </c:pt>
                <c:pt idx="2">
                  <c:v>0.0</c:v>
                </c:pt>
                <c:pt idx="3">
                  <c:v>-0.07944401466275275</c:v>
                </c:pt>
                <c:pt idx="4">
                  <c:v>-0.1138513670350795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2.97"/>
          <c:min val="7.57"/>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Hydro 5 Blade Sensitive 1 Handle + 3 Cartridges Restage</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8.47</c:v>
                </c:pt>
                <c:pt idx="1">
                  <c:v>8.97</c:v>
                </c:pt>
                <c:pt idx="2">
                  <c:v>9.97</c:v>
                </c:pt>
                <c:pt idx="3">
                  <c:v>10.97</c:v>
                </c:pt>
                <c:pt idx="4">
                  <c:v>12.47</c:v>
                </c:pt>
              </c:numCache>
            </c:numRef>
          </c:xVal>
          <c:yVal>
            <c:numRef>
              <c:f>Sheet1!$B$2:$B$6</c:f>
              <c:numCache>
                <c:formatCode>General</c:formatCode>
                <c:ptCount val="5"/>
                <c:pt idx="0">
                  <c:v>0.08164650406607768</c:v>
                </c:pt>
                <c:pt idx="1">
                  <c:v>0.04018060075461187</c:v>
                </c:pt>
                <c:pt idx="2">
                  <c:v>0.0</c:v>
                </c:pt>
                <c:pt idx="3">
                  <c:v>-0.15111676508231334</c:v>
                </c:pt>
                <c:pt idx="4">
                  <c:v>-0.2485399828389385</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Schick Hydro 5 Blade Sensitive 1 Handle + 5 Cartridges Restage</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2.57</c:v>
                </c:pt>
                <c:pt idx="1">
                  <c:v>13.47</c:v>
                </c:pt>
                <c:pt idx="2">
                  <c:v>14.97</c:v>
                </c:pt>
                <c:pt idx="3">
                  <c:v>15.97</c:v>
                </c:pt>
                <c:pt idx="4">
                  <c:v>18.57</c:v>
                </c:pt>
              </c:numCache>
            </c:numRef>
          </c:xVal>
          <c:yVal>
            <c:numRef>
              <c:f>Sheet1!$B$9:$B$13</c:f>
              <c:numCache>
                <c:formatCode>General</c:formatCode>
                <c:ptCount val="5"/>
                <c:pt idx="0">
                  <c:v>0.3122256271249979</c:v>
                </c:pt>
                <c:pt idx="1">
                  <c:v>0.08453565995696649</c:v>
                </c:pt>
                <c:pt idx="2">
                  <c:v>0.0</c:v>
                </c:pt>
                <c:pt idx="3">
                  <c:v>-0.05554747542542261</c:v>
                </c:pt>
                <c:pt idx="4">
                  <c:v>-0.13806276680339227</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Hydro 5 Blade Sensitive 1 Handle + 8 Cartridges Restage</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16.97</c:v>
                </c:pt>
                <c:pt idx="1">
                  <c:v>17.97</c:v>
                </c:pt>
                <c:pt idx="2">
                  <c:v>19.97</c:v>
                </c:pt>
                <c:pt idx="3">
                  <c:v>21.97</c:v>
                </c:pt>
                <c:pt idx="4">
                  <c:v>24.97</c:v>
                </c:pt>
              </c:numCache>
            </c:numRef>
          </c:xVal>
          <c:yVal>
            <c:numRef>
              <c:f>Sheet1!$B$16:$B$20</c:f>
              <c:numCache>
                <c:formatCode>General</c:formatCode>
                <c:ptCount val="5"/>
                <c:pt idx="0">
                  <c:v>0.07930475986872923</c:v>
                </c:pt>
                <c:pt idx="1">
                  <c:v>0.045699109362345114</c:v>
                </c:pt>
                <c:pt idx="2">
                  <c:v>0.0</c:v>
                </c:pt>
                <c:pt idx="3">
                  <c:v>-0.03641465470439621</c:v>
                </c:pt>
                <c:pt idx="4">
                  <c:v>-0.094767794542435</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Schick Hydro 5 Blade Sensitive Refills 6 Pack Restage</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12.57</c:v>
                </c:pt>
                <c:pt idx="1">
                  <c:v>13.47</c:v>
                </c:pt>
                <c:pt idx="2">
                  <c:v>14.97</c:v>
                </c:pt>
                <c:pt idx="3">
                  <c:v>15.97</c:v>
                </c:pt>
                <c:pt idx="4">
                  <c:v>18.57</c:v>
                </c:pt>
              </c:numCache>
            </c:numRef>
          </c:xVal>
          <c:yVal>
            <c:numRef>
              <c:f>Sheet1!$B$23:$B$27</c:f>
              <c:numCache>
                <c:formatCode>General</c:formatCode>
                <c:ptCount val="5"/>
                <c:pt idx="0">
                  <c:v>0.10223294976130348</c:v>
                </c:pt>
                <c:pt idx="1">
                  <c:v>0.05879315257054357</c:v>
                </c:pt>
                <c:pt idx="2">
                  <c:v>0.0</c:v>
                </c:pt>
                <c:pt idx="3">
                  <c:v>-0.03585652124242105</c:v>
                </c:pt>
                <c:pt idx="4">
                  <c:v>-0.18401678512537248</c:v>
                </c:pt>
              </c:numCache>
            </c:numRef>
          </c:yVal>
          <c:smooth val="0"/>
          <c:extLst>
            <c:ext xmlns:c16="http://schemas.microsoft.com/office/drawing/2014/chart" uri="{C3380CC4-5D6E-409C-BE32-E72D297353CC}">
              <c16:uniqueId val="{0000007D-1ABB-4592-8776-98B59FCA8F1B}"/>
            </c:ext>
          </c:extLst>
        </c:ser>
        <c:ser>
          <c:idx val="6"/>
          <c:order val="4"/>
          <c:tx>
            <c:strRef>
              <c:f>Sheet1!$B$29</c:f>
              <c:strCache>
                <c:ptCount val="1"/>
                <c:pt idx="0">
                  <c:v>Schick Hydro 5 Blade Sensitive Refills 12 Pack Restage</c:v>
                </c:pt>
              </c:strCache>
            </c:strRef>
          </c:tx>
          <c:spPr>
            <a:ln w="19050" cap="rnd">
              <a:solidFill>
                <a:srgbClr val="00B050"/>
              </a:solidFill>
              <a:round/>
            </a:ln>
            <a:effectLst/>
          </c:spPr>
          <c:marker>
            <c:symbol val="circle"/>
            <c:size val="5"/>
            <c:spPr>
              <a:solidFill>
                <a:srgbClr val="00B050"/>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30:$A$34</c:f>
              <c:numCache>
                <c:formatCode>General</c:formatCode>
                <c:ptCount val="5"/>
                <c:pt idx="0">
                  <c:v>22.97</c:v>
                </c:pt>
                <c:pt idx="1">
                  <c:v>23.97</c:v>
                </c:pt>
                <c:pt idx="2">
                  <c:v>26.97</c:v>
                </c:pt>
                <c:pt idx="3">
                  <c:v>29.67</c:v>
                </c:pt>
                <c:pt idx="4">
                  <c:v>34.169999999999995</c:v>
                </c:pt>
              </c:numCache>
            </c:numRef>
          </c:xVal>
          <c:yVal>
            <c:numRef>
              <c:f>Sheet1!$B$30:$B$34</c:f>
              <c:numCache>
                <c:formatCode>General</c:formatCode>
                <c:ptCount val="5"/>
                <c:pt idx="0">
                  <c:v>0.20242532026945445</c:v>
                </c:pt>
                <c:pt idx="1">
                  <c:v>0.15387605073624702</c:v>
                </c:pt>
                <c:pt idx="2">
                  <c:v>0.0</c:v>
                </c:pt>
                <c:pt idx="3">
                  <c:v>-0.06554369859658306</c:v>
                </c:pt>
                <c:pt idx="4">
                  <c:v>-0.1623015721286888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4.169999999999995"/>
          <c:min val="8.47"/>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Schick Quattro Four Blade 1 Handle + 4 Cartriges Restage</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8.47</c:v>
                </c:pt>
                <c:pt idx="1">
                  <c:v>8.97</c:v>
                </c:pt>
                <c:pt idx="2">
                  <c:v>9.97</c:v>
                </c:pt>
                <c:pt idx="3">
                  <c:v>10.97</c:v>
                </c:pt>
                <c:pt idx="4">
                  <c:v>12.47</c:v>
                </c:pt>
              </c:numCache>
            </c:numRef>
          </c:xVal>
          <c:yVal>
            <c:numRef>
              <c:f>Sheet1!$B$2:$B$6</c:f>
              <c:numCache>
                <c:formatCode>General</c:formatCode>
                <c:ptCount val="5"/>
                <c:pt idx="0">
                  <c:v>0.09939338849275461</c:v>
                </c:pt>
                <c:pt idx="1">
                  <c:v>0.047372931690292754</c:v>
                </c:pt>
                <c:pt idx="2">
                  <c:v>0.0</c:v>
                </c:pt>
                <c:pt idx="3">
                  <c:v>-0.1800828633528665</c:v>
                </c:pt>
                <c:pt idx="4">
                  <c:v>-0.290211103051033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Wilkinson Sword Classic Double Edge 1 Handle + 5 Cartridges Restage</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2.57</c:v>
                </c:pt>
                <c:pt idx="1">
                  <c:v>13.47</c:v>
                </c:pt>
                <c:pt idx="2">
                  <c:v>14.97</c:v>
                </c:pt>
                <c:pt idx="3">
                  <c:v>15.97</c:v>
                </c:pt>
                <c:pt idx="4">
                  <c:v>18.57</c:v>
                </c:pt>
              </c:numCache>
            </c:numRef>
          </c:xVal>
          <c:yVal>
            <c:numRef>
              <c:f>Sheet1!$B$9:$B$13</c:f>
              <c:numCache>
                <c:formatCode>General</c:formatCode>
                <c:ptCount val="5"/>
                <c:pt idx="0">
                  <c:v>0.2100079749802047</c:v>
                </c:pt>
                <c:pt idx="1">
                  <c:v>0.06578456246870408</c:v>
                </c:pt>
                <c:pt idx="2">
                  <c:v>0.0</c:v>
                </c:pt>
                <c:pt idx="3">
                  <c:v>-0.06859980810145318</c:v>
                </c:pt>
                <c:pt idx="4">
                  <c:v>-0.141970630534999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Schick Quattro Four Blade Refills 3 Pack Restage</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4.170000000000001</c:v>
                </c:pt>
                <c:pt idx="1">
                  <c:v>4.37</c:v>
                </c:pt>
                <c:pt idx="2">
                  <c:v>4.97</c:v>
                </c:pt>
                <c:pt idx="3">
                  <c:v>5.470000000000001</c:v>
                </c:pt>
                <c:pt idx="4">
                  <c:v>6.170000000000001</c:v>
                </c:pt>
              </c:numCache>
            </c:numRef>
          </c:xVal>
          <c:yVal>
            <c:numRef>
              <c:f>Sheet1!$B$16:$B$20</c:f>
              <c:numCache>
                <c:formatCode>General</c:formatCode>
                <c:ptCount val="5"/>
                <c:pt idx="0">
                  <c:v>0.12152632962129994</c:v>
                </c:pt>
                <c:pt idx="1">
                  <c:v>0.09035446100706698</c:v>
                </c:pt>
                <c:pt idx="2">
                  <c:v>0.0</c:v>
                </c:pt>
                <c:pt idx="3">
                  <c:v>-0.20326413159988527</c:v>
                </c:pt>
                <c:pt idx="4">
                  <c:v>-0.4317204424593079</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Schick Quattro Four Blade Refills 6 Pack Restage</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8.47</c:v>
                </c:pt>
                <c:pt idx="1">
                  <c:v>8.97</c:v>
                </c:pt>
                <c:pt idx="2">
                  <c:v>9.97</c:v>
                </c:pt>
                <c:pt idx="3">
                  <c:v>10.97</c:v>
                </c:pt>
                <c:pt idx="4">
                  <c:v>11.97</c:v>
                </c:pt>
              </c:numCache>
            </c:numRef>
          </c:xVal>
          <c:yVal>
            <c:numRef>
              <c:f>Sheet1!$B$23:$B$27</c:f>
              <c:numCache>
                <c:formatCode>General</c:formatCode>
                <c:ptCount val="5"/>
                <c:pt idx="0">
                  <c:v>0.07318807299383925</c:v>
                </c:pt>
                <c:pt idx="1">
                  <c:v>0.04196083065179062</c:v>
                </c:pt>
                <c:pt idx="2">
                  <c:v>0.0</c:v>
                </c:pt>
                <c:pt idx="3">
                  <c:v>-0.084413353786412</c:v>
                </c:pt>
                <c:pt idx="4">
                  <c:v>-0.2019981544608446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18.57"/>
          <c:min val="4.170000000000001"/>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5</c:f>
              <c:strCache>
                <c:ptCount val="14"/>
                <c:pt idx="0">
                  <c:v>5</c:v>
                </c:pt>
                <c:pt idx="1">
                  <c:v>6</c:v>
                </c:pt>
                <c:pt idx="2">
                  <c:v>6</c:v>
                </c:pt>
                <c:pt idx="3">
                  <c:v>6</c:v>
                </c:pt>
                <c:pt idx="4">
                  <c:v>6</c:v>
                </c:pt>
                <c:pt idx="5">
                  <c:v>6</c:v>
                </c:pt>
                <c:pt idx="6">
                  <c:v>7</c:v>
                </c:pt>
                <c:pt idx="7">
                  <c:v>7</c:v>
                </c:pt>
                <c:pt idx="8">
                  <c:v>7</c:v>
                </c:pt>
                <c:pt idx="9">
                  <c:v>7</c:v>
                </c:pt>
                <c:pt idx="10">
                  <c:v>7</c:v>
                </c:pt>
                <c:pt idx="11">
                  <c:v>8</c:v>
                </c:pt>
                <c:pt idx="12">
                  <c:v>8</c:v>
                </c:pt>
                <c:pt idx="13">
                  <c:v>8</c:v>
                </c:pt>
              </c:strCache>
            </c:strRef>
          </c:cat>
          <c:val>
            <c:numRef>
              <c:f>Sheet1!$B$2:$B$15</c:f>
              <c:numCache>
                <c:formatCode>General</c:formatCode>
                <c:ptCount val="14"/>
                <c:pt idx="0">
                  <c:v>108.89623255952483</c:v>
                </c:pt>
                <c:pt idx="1">
                  <c:v>106.88183612346236</c:v>
                </c:pt>
                <c:pt idx="2">
                  <c:v>104.99771635916828</c:v>
                </c:pt>
                <c:pt idx="3">
                  <c:v>103.23056139733487</c:v>
                </c:pt>
                <c:pt idx="4">
                  <c:v>101.56828427844727</c:v>
                </c:pt>
                <c:pt idx="5">
                  <c:v>100.0</c:v>
                </c:pt>
                <c:pt idx="6">
                  <c:v>94.94053439056367</c:v>
                </c:pt>
                <c:pt idx="7">
                  <c:v>90.51571204200411</c:v>
                </c:pt>
                <c:pt idx="8">
                  <c:v>86.6276154547861</c:v>
                </c:pt>
                <c:pt idx="9">
                  <c:v>83.7892148778836</c:v>
                </c:pt>
                <c:pt idx="10">
                  <c:v>81.12516505930894</c:v>
                </c:pt>
                <c:pt idx="11">
                  <c:v>78.62076794848088</c:v>
                </c:pt>
                <c:pt idx="12">
                  <c:v>76.26220556394324</c:v>
                </c:pt>
                <c:pt idx="13">
                  <c:v>74.0365765897105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5</c:f>
              <c:strCache>
                <c:ptCount val="14"/>
                <c:pt idx="0">
                  <c:v>5</c:v>
                </c:pt>
                <c:pt idx="1">
                  <c:v>6</c:v>
                </c:pt>
                <c:pt idx="2">
                  <c:v>6</c:v>
                </c:pt>
                <c:pt idx="3">
                  <c:v>6</c:v>
                </c:pt>
                <c:pt idx="4">
                  <c:v>6</c:v>
                </c:pt>
                <c:pt idx="5">
                  <c:v>6</c:v>
                </c:pt>
                <c:pt idx="6">
                  <c:v>7</c:v>
                </c:pt>
                <c:pt idx="7">
                  <c:v>7</c:v>
                </c:pt>
                <c:pt idx="8">
                  <c:v>7</c:v>
                </c:pt>
                <c:pt idx="9">
                  <c:v>7</c:v>
                </c:pt>
                <c:pt idx="10">
                  <c:v>7</c:v>
                </c:pt>
                <c:pt idx="11">
                  <c:v>8</c:v>
                </c:pt>
                <c:pt idx="12">
                  <c:v>8</c:v>
                </c:pt>
                <c:pt idx="13">
                  <c:v>8</c:v>
                </c:pt>
              </c:strCache>
            </c:strRef>
          </c:cat>
          <c:val>
            <c:numRef>
              <c:f>Sheet1!$C$2:$C$15</c:f>
              <c:numCache>
                <c:formatCode>General</c:formatCode>
                <c:ptCount val="14"/>
                <c:pt idx="0">
                  <c:v>92.35918395610679</c:v>
                </c:pt>
                <c:pt idx="1">
                  <c:v>93.90239359023627</c:v>
                </c:pt>
                <c:pt idx="2">
                  <c:v>95.43873075343532</c:v>
                </c:pt>
                <c:pt idx="3">
                  <c:v>96.96775014893608</c:v>
                </c:pt>
                <c:pt idx="4">
                  <c:v>98.48856251676519</c:v>
                </c:pt>
                <c:pt idx="5">
                  <c:v>100.0</c:v>
                </c:pt>
                <c:pt idx="6">
                  <c:v>97.82952498780215</c:v>
                </c:pt>
                <c:pt idx="7">
                  <c:v>96.0235594892946</c:v>
                </c:pt>
                <c:pt idx="8">
                  <c:v>94.53334140481539</c:v>
                </c:pt>
                <c:pt idx="9">
                  <c:v>93.97605916020105</c:v>
                </c:pt>
                <c:pt idx="10">
                  <c:v>93.44756817511755</c:v>
                </c:pt>
                <c:pt idx="11">
                  <c:v>92.94634166483961</c:v>
                </c:pt>
                <c:pt idx="12">
                  <c:v>92.47014170943739</c:v>
                </c:pt>
                <c:pt idx="13">
                  <c:v>92.0161985940420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5</c:f>
              <c:strCache>
                <c:ptCount val="14"/>
                <c:pt idx="0">
                  <c:v>5</c:v>
                </c:pt>
                <c:pt idx="1">
                  <c:v>6</c:v>
                </c:pt>
                <c:pt idx="2">
                  <c:v>6</c:v>
                </c:pt>
                <c:pt idx="3">
                  <c:v>6</c:v>
                </c:pt>
                <c:pt idx="4">
                  <c:v>6</c:v>
                </c:pt>
                <c:pt idx="5">
                  <c:v>6</c:v>
                </c:pt>
                <c:pt idx="6">
                  <c:v>7</c:v>
                </c:pt>
                <c:pt idx="7">
                  <c:v>7</c:v>
                </c:pt>
                <c:pt idx="8">
                  <c:v>7</c:v>
                </c:pt>
                <c:pt idx="9">
                  <c:v>7</c:v>
                </c:pt>
                <c:pt idx="10">
                  <c:v>7</c:v>
                </c:pt>
                <c:pt idx="11">
                  <c:v>8</c:v>
                </c:pt>
                <c:pt idx="12">
                  <c:v>8</c:v>
                </c:pt>
                <c:pt idx="13">
                  <c:v>8</c:v>
                </c:pt>
              </c:strCache>
            </c:strRef>
          </c:cat>
          <c:val>
            <c:numRef>
              <c:f>Sheet1!$D$2:$D$15</c:f>
              <c:numCache>
                <c:formatCode>General</c:formatCode>
                <c:ptCount val="14"/>
                <c:pt idx="0">
                  <c:v>86.94521456334685</c:v>
                </c:pt>
                <c:pt idx="1">
                  <c:v>89.64586714223466</c:v>
                </c:pt>
                <c:pt idx="2">
                  <c:v>92.29861718639663</c:v>
                </c:pt>
                <c:pt idx="3">
                  <c:v>94.90698267389355</c:v>
                </c:pt>
                <c:pt idx="4">
                  <c:v>97.47351041229277</c:v>
                </c:pt>
                <c:pt idx="5">
                  <c:v>100.0</c:v>
                </c:pt>
                <c:pt idx="6">
                  <c:v>98.76810735611103</c:v>
                </c:pt>
                <c:pt idx="7">
                  <c:v>97.81408032259566</c:v>
                </c:pt>
                <c:pt idx="8">
                  <c:v>97.10491646577137</c:v>
                </c:pt>
                <c:pt idx="9">
                  <c:v>97.30122366231727</c:v>
                </c:pt>
                <c:pt idx="10">
                  <c:v>97.47816383900854</c:v>
                </c:pt>
                <c:pt idx="11">
                  <c:v>97.63857069386506</c:v>
                </c:pt>
                <c:pt idx="12">
                  <c:v>97.78403612117759</c:v>
                </c:pt>
                <c:pt idx="13">
                  <c:v>97.9151360130814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5</c:f>
              <c:strCache>
                <c:ptCount val="14"/>
                <c:pt idx="0">
                  <c:v>5</c:v>
                </c:pt>
                <c:pt idx="1">
                  <c:v>6</c:v>
                </c:pt>
                <c:pt idx="2">
                  <c:v>6</c:v>
                </c:pt>
                <c:pt idx="3">
                  <c:v>6</c:v>
                </c:pt>
                <c:pt idx="4">
                  <c:v>6</c:v>
                </c:pt>
                <c:pt idx="5">
                  <c:v>6</c:v>
                </c:pt>
                <c:pt idx="6">
                  <c:v>7</c:v>
                </c:pt>
                <c:pt idx="7">
                  <c:v>7</c:v>
                </c:pt>
                <c:pt idx="8">
                  <c:v>7</c:v>
                </c:pt>
                <c:pt idx="9">
                  <c:v>7</c:v>
                </c:pt>
                <c:pt idx="10">
                  <c:v>7</c:v>
                </c:pt>
                <c:pt idx="11">
                  <c:v>8</c:v>
                </c:pt>
                <c:pt idx="12">
                  <c:v>8</c:v>
                </c:pt>
                <c:pt idx="13">
                  <c:v>8</c:v>
                </c:pt>
              </c:strCache>
            </c:strRef>
          </c:cat>
          <c:val>
            <c:numRef>
              <c:f>Sheet1!$E$2:$E$15</c:f>
              <c:numCache>
                <c:formatCode>General</c:formatCode>
                <c:ptCount val="14"/>
                <c:pt idx="0">
                  <c:v>0.7241085765708276</c:v>
                </c:pt>
                <c:pt idx="1">
                  <c:v>0.7338401964448725</c:v>
                </c:pt>
                <c:pt idx="2">
                  <c:v>0.7429086735677048</c:v>
                </c:pt>
                <c:pt idx="3">
                  <c:v>0.7513795574699221</c:v>
                </c:pt>
                <c:pt idx="4">
                  <c:v>0.7593100341056501</c:v>
                </c:pt>
                <c:pt idx="5">
                  <c:v>0.7667502185227862</c:v>
                </c:pt>
                <c:pt idx="6">
                  <c:v>0.7737442149688796</c:v>
                </c:pt>
                <c:pt idx="7">
                  <c:v>0.7803309918256809</c:v>
                </c:pt>
                <c:pt idx="8">
                  <c:v>0.7865451080399473</c:v>
                </c:pt>
                <c:pt idx="9">
                  <c:v>0.7924173196482018</c:v>
                </c:pt>
                <c:pt idx="10">
                  <c:v>0.7979750888677947</c:v>
                </c:pt>
                <c:pt idx="11">
                  <c:v>0.8032430135387779</c:v>
                </c:pt>
                <c:pt idx="12">
                  <c:v>0.8082431910854418</c:v>
                </c:pt>
                <c:pt idx="13">
                  <c:v>0.812995528357178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0"/>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10</c:v>
                </c:pt>
                <c:pt idx="1">
                  <c:v>10</c:v>
                </c:pt>
                <c:pt idx="2">
                  <c:v>11</c:v>
                </c:pt>
                <c:pt idx="3">
                  <c:v>11</c:v>
                </c:pt>
                <c:pt idx="4">
                  <c:v>11</c:v>
                </c:pt>
                <c:pt idx="5">
                  <c:v>11</c:v>
                </c:pt>
                <c:pt idx="6">
                  <c:v>11</c:v>
                </c:pt>
                <c:pt idx="7">
                  <c:v>12</c:v>
                </c:pt>
                <c:pt idx="8">
                  <c:v>12</c:v>
                </c:pt>
                <c:pt idx="9">
                  <c:v>12</c:v>
                </c:pt>
                <c:pt idx="10">
                  <c:v>12</c:v>
                </c:pt>
                <c:pt idx="11">
                  <c:v>12</c:v>
                </c:pt>
                <c:pt idx="12">
                  <c:v>13</c:v>
                </c:pt>
                <c:pt idx="13">
                  <c:v>13</c:v>
                </c:pt>
                <c:pt idx="14">
                  <c:v>13</c:v>
                </c:pt>
                <c:pt idx="15">
                  <c:v>13</c:v>
                </c:pt>
                <c:pt idx="16">
                  <c:v>13</c:v>
                </c:pt>
                <c:pt idx="17">
                  <c:v>14</c:v>
                </c:pt>
                <c:pt idx="18">
                  <c:v>14</c:v>
                </c:pt>
                <c:pt idx="19">
                  <c:v>14</c:v>
                </c:pt>
                <c:pt idx="20">
                  <c:v>14</c:v>
                </c:pt>
                <c:pt idx="21">
                  <c:v>14</c:v>
                </c:pt>
                <c:pt idx="22">
                  <c:v>15</c:v>
                </c:pt>
                <c:pt idx="23">
                  <c:v>15</c:v>
                </c:pt>
                <c:pt idx="24">
                  <c:v>15</c:v>
                </c:pt>
              </c:strCache>
            </c:strRef>
          </c:cat>
          <c:val>
            <c:numRef>
              <c:f>Sheet1!$B$2:$B$26</c:f>
              <c:numCache>
                <c:formatCode>General</c:formatCode>
                <c:ptCount val="25"/>
                <c:pt idx="0">
                  <c:v>118.7946120157477</c:v>
                </c:pt>
                <c:pt idx="1">
                  <c:v>115.77628937730876</c:v>
                </c:pt>
                <c:pt idx="2">
                  <c:v>113.02485599779241</c:v>
                </c:pt>
                <c:pt idx="3">
                  <c:v>110.49714607528625</c:v>
                </c:pt>
                <c:pt idx="4">
                  <c:v>108.15919927412307</c:v>
                </c:pt>
                <c:pt idx="5">
                  <c:v>106.39044679209088</c:v>
                </c:pt>
                <c:pt idx="6">
                  <c:v>104.69470539007106</c:v>
                </c:pt>
                <c:pt idx="7">
                  <c:v>103.06724371243664</c:v>
                </c:pt>
                <c:pt idx="8">
                  <c:v>101.50368936525737</c:v>
                </c:pt>
                <c:pt idx="9">
                  <c:v>100.0</c:v>
                </c:pt>
                <c:pt idx="10">
                  <c:v>98.55243683778988</c:v>
                </c:pt>
                <c:pt idx="11">
                  <c:v>97.15754039998397</c:v>
                </c:pt>
                <c:pt idx="12">
                  <c:v>95.81210824174508</c:v>
                </c:pt>
                <c:pt idx="13">
                  <c:v>93.8060887095616</c:v>
                </c:pt>
                <c:pt idx="14">
                  <c:v>91.88391070694507</c:v>
                </c:pt>
                <c:pt idx="15">
                  <c:v>90.03962612904617</c:v>
                </c:pt>
                <c:pt idx="16">
                  <c:v>88.26790551338608</c:v>
                </c:pt>
                <c:pt idx="17">
                  <c:v>86.16407070900893</c:v>
                </c:pt>
                <c:pt idx="18">
                  <c:v>83.74243447791801</c:v>
                </c:pt>
                <c:pt idx="19">
                  <c:v>81.40553193786879</c:v>
                </c:pt>
                <c:pt idx="20">
                  <c:v>79.15021505526511</c:v>
                </c:pt>
                <c:pt idx="21">
                  <c:v>76.9736303884198</c:v>
                </c:pt>
                <c:pt idx="22">
                  <c:v>74.8731730034431</c:v>
                </c:pt>
                <c:pt idx="23">
                  <c:v>72.84644284441575</c:v>
                </c:pt>
                <c:pt idx="24">
                  <c:v>70.8912043359260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10</c:v>
                </c:pt>
                <c:pt idx="1">
                  <c:v>10</c:v>
                </c:pt>
                <c:pt idx="2">
                  <c:v>11</c:v>
                </c:pt>
                <c:pt idx="3">
                  <c:v>11</c:v>
                </c:pt>
                <c:pt idx="4">
                  <c:v>11</c:v>
                </c:pt>
                <c:pt idx="5">
                  <c:v>11</c:v>
                </c:pt>
                <c:pt idx="6">
                  <c:v>11</c:v>
                </c:pt>
                <c:pt idx="7">
                  <c:v>12</c:v>
                </c:pt>
                <c:pt idx="8">
                  <c:v>12</c:v>
                </c:pt>
                <c:pt idx="9">
                  <c:v>12</c:v>
                </c:pt>
                <c:pt idx="10">
                  <c:v>12</c:v>
                </c:pt>
                <c:pt idx="11">
                  <c:v>12</c:v>
                </c:pt>
                <c:pt idx="12">
                  <c:v>13</c:v>
                </c:pt>
                <c:pt idx="13">
                  <c:v>13</c:v>
                </c:pt>
                <c:pt idx="14">
                  <c:v>13</c:v>
                </c:pt>
                <c:pt idx="15">
                  <c:v>13</c:v>
                </c:pt>
                <c:pt idx="16">
                  <c:v>13</c:v>
                </c:pt>
                <c:pt idx="17">
                  <c:v>14</c:v>
                </c:pt>
                <c:pt idx="18">
                  <c:v>14</c:v>
                </c:pt>
                <c:pt idx="19">
                  <c:v>14</c:v>
                </c:pt>
                <c:pt idx="20">
                  <c:v>14</c:v>
                </c:pt>
                <c:pt idx="21">
                  <c:v>14</c:v>
                </c:pt>
                <c:pt idx="22">
                  <c:v>15</c:v>
                </c:pt>
                <c:pt idx="23">
                  <c:v>15</c:v>
                </c:pt>
                <c:pt idx="24">
                  <c:v>15</c:v>
                </c:pt>
              </c:strCache>
            </c:strRef>
          </c:cat>
          <c:val>
            <c:numRef>
              <c:f>Sheet1!$C$2:$C$26</c:f>
              <c:numCache>
                <c:formatCode>General</c:formatCode>
                <c:ptCount val="25"/>
                <c:pt idx="0">
                  <c:v>101.04136446879299</c:v>
                </c:pt>
                <c:pt idx="1">
                  <c:v>100.3990632167304</c:v>
                </c:pt>
                <c:pt idx="2">
                  <c:v>99.89182580888438</c:v>
                </c:pt>
                <c:pt idx="3">
                  <c:v>99.49417956070259</c:v>
                </c:pt>
                <c:pt idx="4">
                  <c:v>99.1862044736685</c:v>
                </c:pt>
                <c:pt idx="5">
                  <c:v>99.32968941095446</c:v>
                </c:pt>
                <c:pt idx="6">
                  <c:v>99.48372662887259</c:v>
                </c:pt>
                <c:pt idx="7">
                  <c:v>99.64738136785068</c:v>
                </c:pt>
                <c:pt idx="8">
                  <c:v>99.81975782279513</c:v>
                </c:pt>
                <c:pt idx="9">
                  <c:v>100.0</c:v>
                </c:pt>
                <c:pt idx="10">
                  <c:v>100.18729217548668</c:v>
                </c:pt>
                <c:pt idx="11">
                  <c:v>100.38085899665097</c:v>
                </c:pt>
                <c:pt idx="12">
                  <c:v>100.57996527039337</c:v>
                </c:pt>
                <c:pt idx="13">
                  <c:v>100.0333361717163</c:v>
                </c:pt>
                <c:pt idx="14">
                  <c:v>99.5108448684369</c:v>
                </c:pt>
                <c:pt idx="15">
                  <c:v>99.01013413234703</c:v>
                </c:pt>
                <c:pt idx="16">
                  <c:v>98.52914112228434</c:v>
                </c:pt>
                <c:pt idx="17">
                  <c:v>97.61525388072204</c:v>
                </c:pt>
                <c:pt idx="18">
                  <c:v>96.26837768363458</c:v>
                </c:pt>
                <c:pt idx="19">
                  <c:v>94.93983825315276</c:v>
                </c:pt>
                <c:pt idx="20">
                  <c:v>93.63011773654557</c:v>
                </c:pt>
                <c:pt idx="21">
                  <c:v>92.33984322752879</c:v>
                </c:pt>
                <c:pt idx="22">
                  <c:v>91.06975532870393</c:v>
                </c:pt>
                <c:pt idx="23">
                  <c:v>89.82067514950622</c:v>
                </c:pt>
                <c:pt idx="24">
                  <c:v>88.5934709861792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10</c:v>
                </c:pt>
                <c:pt idx="1">
                  <c:v>10</c:v>
                </c:pt>
                <c:pt idx="2">
                  <c:v>11</c:v>
                </c:pt>
                <c:pt idx="3">
                  <c:v>11</c:v>
                </c:pt>
                <c:pt idx="4">
                  <c:v>11</c:v>
                </c:pt>
                <c:pt idx="5">
                  <c:v>11</c:v>
                </c:pt>
                <c:pt idx="6">
                  <c:v>11</c:v>
                </c:pt>
                <c:pt idx="7">
                  <c:v>12</c:v>
                </c:pt>
                <c:pt idx="8">
                  <c:v>12</c:v>
                </c:pt>
                <c:pt idx="9">
                  <c:v>12</c:v>
                </c:pt>
                <c:pt idx="10">
                  <c:v>12</c:v>
                </c:pt>
                <c:pt idx="11">
                  <c:v>12</c:v>
                </c:pt>
                <c:pt idx="12">
                  <c:v>13</c:v>
                </c:pt>
                <c:pt idx="13">
                  <c:v>13</c:v>
                </c:pt>
                <c:pt idx="14">
                  <c:v>13</c:v>
                </c:pt>
                <c:pt idx="15">
                  <c:v>13</c:v>
                </c:pt>
                <c:pt idx="16">
                  <c:v>13</c:v>
                </c:pt>
                <c:pt idx="17">
                  <c:v>14</c:v>
                </c:pt>
                <c:pt idx="18">
                  <c:v>14</c:v>
                </c:pt>
                <c:pt idx="19">
                  <c:v>14</c:v>
                </c:pt>
                <c:pt idx="20">
                  <c:v>14</c:v>
                </c:pt>
                <c:pt idx="21">
                  <c:v>14</c:v>
                </c:pt>
                <c:pt idx="22">
                  <c:v>15</c:v>
                </c:pt>
                <c:pt idx="23">
                  <c:v>15</c:v>
                </c:pt>
                <c:pt idx="24">
                  <c:v>15</c:v>
                </c:pt>
              </c:strCache>
            </c:strRef>
          </c:cat>
          <c:val>
            <c:numRef>
              <c:f>Sheet1!$D$2:$D$26</c:f>
              <c:numCache>
                <c:formatCode>General</c:formatCode>
                <c:ptCount val="25"/>
                <c:pt idx="0">
                  <c:v>94.83098595135276</c:v>
                </c:pt>
                <c:pt idx="1">
                  <c:v>95.01650231526241</c:v>
                </c:pt>
                <c:pt idx="2">
                  <c:v>95.29173066296947</c:v>
                </c:pt>
                <c:pt idx="3">
                  <c:v>95.63725613695593</c:v>
                </c:pt>
                <c:pt idx="4">
                  <c:v>96.03796768490534</c:v>
                </c:pt>
                <c:pt idx="5">
                  <c:v>96.852038570862</c:v>
                </c:pt>
                <c:pt idx="6">
                  <c:v>97.65492266951841</c:v>
                </c:pt>
                <c:pt idx="7">
                  <c:v>98.44701006172508</c:v>
                </c:pt>
                <c:pt idx="8">
                  <c:v>99.22861755589963</c:v>
                </c:pt>
                <c:pt idx="9">
                  <c:v>100.0</c:v>
                </c:pt>
                <c:pt idx="10">
                  <c:v>100.76136020003665</c:v>
                </c:pt>
                <c:pt idx="11">
                  <c:v>101.51285758328615</c:v>
                </c:pt>
                <c:pt idx="12">
                  <c:v>102.25461573538497</c:v>
                </c:pt>
                <c:pt idx="13">
                  <c:v>102.21624953440657</c:v>
                </c:pt>
                <c:pt idx="14">
                  <c:v>102.18119626819595</c:v>
                </c:pt>
                <c:pt idx="15">
                  <c:v>102.1483455113043</c:v>
                </c:pt>
                <c:pt idx="16">
                  <c:v>102.11676926722933</c:v>
                </c:pt>
                <c:pt idx="17">
                  <c:v>101.61410603091056</c:v>
                </c:pt>
                <c:pt idx="18">
                  <c:v>100.6352240708071</c:v>
                </c:pt>
                <c:pt idx="19">
                  <c:v>99.65151215748085</c:v>
                </c:pt>
                <c:pt idx="20">
                  <c:v>98.66474369094205</c:v>
                </c:pt>
                <c:pt idx="21">
                  <c:v>97.67678366165093</c:v>
                </c:pt>
                <c:pt idx="22">
                  <c:v>96.68956215296696</c:v>
                </c:pt>
                <c:pt idx="23">
                  <c:v>95.70504487052705</c:v>
                </c:pt>
                <c:pt idx="24">
                  <c:v>94.7252021232940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10</c:v>
                </c:pt>
                <c:pt idx="1">
                  <c:v>10</c:v>
                </c:pt>
                <c:pt idx="2">
                  <c:v>11</c:v>
                </c:pt>
                <c:pt idx="3">
                  <c:v>11</c:v>
                </c:pt>
                <c:pt idx="4">
                  <c:v>11</c:v>
                </c:pt>
                <c:pt idx="5">
                  <c:v>11</c:v>
                </c:pt>
                <c:pt idx="6">
                  <c:v>11</c:v>
                </c:pt>
                <c:pt idx="7">
                  <c:v>12</c:v>
                </c:pt>
                <c:pt idx="8">
                  <c:v>12</c:v>
                </c:pt>
                <c:pt idx="9">
                  <c:v>12</c:v>
                </c:pt>
                <c:pt idx="10">
                  <c:v>12</c:v>
                </c:pt>
                <c:pt idx="11">
                  <c:v>12</c:v>
                </c:pt>
                <c:pt idx="12">
                  <c:v>13</c:v>
                </c:pt>
                <c:pt idx="13">
                  <c:v>13</c:v>
                </c:pt>
                <c:pt idx="14">
                  <c:v>13</c:v>
                </c:pt>
                <c:pt idx="15">
                  <c:v>13</c:v>
                </c:pt>
                <c:pt idx="16">
                  <c:v>13</c:v>
                </c:pt>
                <c:pt idx="17">
                  <c:v>14</c:v>
                </c:pt>
                <c:pt idx="18">
                  <c:v>14</c:v>
                </c:pt>
                <c:pt idx="19">
                  <c:v>14</c:v>
                </c:pt>
                <c:pt idx="20">
                  <c:v>14</c:v>
                </c:pt>
                <c:pt idx="21">
                  <c:v>14</c:v>
                </c:pt>
                <c:pt idx="22">
                  <c:v>15</c:v>
                </c:pt>
                <c:pt idx="23">
                  <c:v>15</c:v>
                </c:pt>
                <c:pt idx="24">
                  <c:v>15</c:v>
                </c:pt>
              </c:strCache>
            </c:strRef>
          </c:cat>
          <c:val>
            <c:numRef>
              <c:f>Sheet1!$E$2:$E$26</c:f>
              <c:numCache>
                <c:formatCode>General</c:formatCode>
                <c:ptCount val="25"/>
                <c:pt idx="0">
                  <c:v>0.7004050745918783</c:v>
                </c:pt>
                <c:pt idx="1">
                  <c:v>0.706183183085767</c:v>
                </c:pt>
                <c:pt idx="2">
                  <c:v>0.7117426308987136</c:v>
                </c:pt>
                <c:pt idx="3">
                  <c:v>0.7170955996842527</c:v>
                </c:pt>
                <c:pt idx="4">
                  <c:v>0.7222533827346767</c:v>
                </c:pt>
                <c:pt idx="5">
                  <c:v>0.7272264645120323</c:v>
                </c:pt>
                <c:pt idx="6">
                  <c:v>0.7320245917853476</c:v>
                </c:pt>
                <c:pt idx="7">
                  <c:v>0.7366568373897496</c:v>
                </c:pt>
                <c:pt idx="8">
                  <c:v>0.741131657485081</c:v>
                </c:pt>
                <c:pt idx="9">
                  <c:v>0.7454569430743025</c:v>
                </c:pt>
                <c:pt idx="10">
                  <c:v>0.7496400664420215</c:v>
                </c:pt>
                <c:pt idx="11">
                  <c:v>0.7536879230880681</c:v>
                </c:pt>
                <c:pt idx="12">
                  <c:v>0.7576069696578681</c:v>
                </c:pt>
                <c:pt idx="13">
                  <c:v>0.7614032583084889</c:v>
                </c:pt>
                <c:pt idx="14">
                  <c:v>0.7650824678950966</c:v>
                </c:pt>
                <c:pt idx="15">
                  <c:v>0.768649932315824</c:v>
                </c:pt>
                <c:pt idx="16">
                  <c:v>0.7721106663125956</c:v>
                </c:pt>
                <c:pt idx="17">
                  <c:v>0.775469388990376</c:v>
                </c:pt>
                <c:pt idx="18">
                  <c:v>0.7787305452868122</c:v>
                </c:pt>
                <c:pt idx="19">
                  <c:v>0.7818983255976666</c:v>
                </c:pt>
                <c:pt idx="20">
                  <c:v>0.7849766837402543</c:v>
                </c:pt>
                <c:pt idx="21">
                  <c:v>0.7879693534167992</c:v>
                </c:pt>
                <c:pt idx="22">
                  <c:v>0.7908798633218533</c:v>
                </c:pt>
                <c:pt idx="23">
                  <c:v>0.7937115510223022</c:v>
                </c:pt>
                <c:pt idx="24">
                  <c:v>0.79646757572474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0"/>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5</c:f>
              <c:strCache>
                <c:ptCount val="14"/>
                <c:pt idx="0">
                  <c:v>5</c:v>
                </c:pt>
                <c:pt idx="1">
                  <c:v>6</c:v>
                </c:pt>
                <c:pt idx="2">
                  <c:v>6</c:v>
                </c:pt>
                <c:pt idx="3">
                  <c:v>6</c:v>
                </c:pt>
                <c:pt idx="4">
                  <c:v>6</c:v>
                </c:pt>
                <c:pt idx="5">
                  <c:v>6</c:v>
                </c:pt>
                <c:pt idx="6">
                  <c:v>7</c:v>
                </c:pt>
                <c:pt idx="7">
                  <c:v>7</c:v>
                </c:pt>
                <c:pt idx="8">
                  <c:v>7</c:v>
                </c:pt>
                <c:pt idx="9">
                  <c:v>7</c:v>
                </c:pt>
                <c:pt idx="10">
                  <c:v>7</c:v>
                </c:pt>
                <c:pt idx="11">
                  <c:v>8</c:v>
                </c:pt>
                <c:pt idx="12">
                  <c:v>8</c:v>
                </c:pt>
                <c:pt idx="13">
                  <c:v>8</c:v>
                </c:pt>
              </c:strCache>
            </c:strRef>
          </c:cat>
          <c:val>
            <c:numRef>
              <c:f>Sheet1!$B$2:$B$15</c:f>
              <c:numCache>
                <c:formatCode>General</c:formatCode>
                <c:ptCount val="14"/>
                <c:pt idx="0">
                  <c:v>110.55544383694607</c:v>
                </c:pt>
                <c:pt idx="1">
                  <c:v>108.19990841168368</c:v>
                </c:pt>
                <c:pt idx="2">
                  <c:v>105.97903446654445</c:v>
                </c:pt>
                <c:pt idx="3">
                  <c:v>103.87961536686632</c:v>
                </c:pt>
                <c:pt idx="4">
                  <c:v>101.89001794528313</c:v>
                </c:pt>
                <c:pt idx="5">
                  <c:v>100.0</c:v>
                </c:pt>
                <c:pt idx="6">
                  <c:v>93.63730888899107</c:v>
                </c:pt>
                <c:pt idx="7">
                  <c:v>88.3118092925764</c:v>
                </c:pt>
                <c:pt idx="8">
                  <c:v>83.79325756812545</c:v>
                </c:pt>
                <c:pt idx="9">
                  <c:v>80.1360808987515</c:v>
                </c:pt>
                <c:pt idx="10">
                  <c:v>76.75120924145857</c:v>
                </c:pt>
                <c:pt idx="11">
                  <c:v>73.61537201725514</c:v>
                </c:pt>
                <c:pt idx="12">
                  <c:v>70.70666962073543</c:v>
                </c:pt>
                <c:pt idx="13">
                  <c:v>68.004713230423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5</c:f>
              <c:strCache>
                <c:ptCount val="14"/>
                <c:pt idx="0">
                  <c:v>5</c:v>
                </c:pt>
                <c:pt idx="1">
                  <c:v>6</c:v>
                </c:pt>
                <c:pt idx="2">
                  <c:v>6</c:v>
                </c:pt>
                <c:pt idx="3">
                  <c:v>6</c:v>
                </c:pt>
                <c:pt idx="4">
                  <c:v>6</c:v>
                </c:pt>
                <c:pt idx="5">
                  <c:v>6</c:v>
                </c:pt>
                <c:pt idx="6">
                  <c:v>7</c:v>
                </c:pt>
                <c:pt idx="7">
                  <c:v>7</c:v>
                </c:pt>
                <c:pt idx="8">
                  <c:v>7</c:v>
                </c:pt>
                <c:pt idx="9">
                  <c:v>7</c:v>
                </c:pt>
                <c:pt idx="10">
                  <c:v>7</c:v>
                </c:pt>
                <c:pt idx="11">
                  <c:v>8</c:v>
                </c:pt>
                <c:pt idx="12">
                  <c:v>8</c:v>
                </c:pt>
                <c:pt idx="13">
                  <c:v>8</c:v>
                </c:pt>
              </c:strCache>
            </c:strRef>
          </c:cat>
          <c:val>
            <c:numRef>
              <c:f>Sheet1!$C$2:$C$15</c:f>
              <c:numCache>
                <c:formatCode>General</c:formatCode>
                <c:ptCount val="14"/>
                <c:pt idx="0">
                  <c:v>93.67542683138959</c:v>
                </c:pt>
                <c:pt idx="1">
                  <c:v>94.98657060408762</c:v>
                </c:pt>
                <c:pt idx="2">
                  <c:v>96.27456377119027</c:v>
                </c:pt>
                <c:pt idx="3">
                  <c:v>97.53948767099617</c:v>
                </c:pt>
                <c:pt idx="4">
                  <c:v>98.78132106054514</c:v>
                </c:pt>
                <c:pt idx="5">
                  <c:v>100.0</c:v>
                </c:pt>
                <c:pt idx="6">
                  <c:v>96.49831098814599</c:v>
                </c:pt>
                <c:pt idx="7">
                  <c:v>93.7087196721912</c:v>
                </c:pt>
                <c:pt idx="8">
                  <c:v>91.47471745827534</c:v>
                </c:pt>
                <c:pt idx="9">
                  <c:v>89.92778209758578</c:v>
                </c:pt>
                <c:pt idx="10">
                  <c:v>88.47211878800061</c:v>
                </c:pt>
                <c:pt idx="11">
                  <c:v>87.10499193984921</c:v>
                </c:pt>
                <c:pt idx="12">
                  <c:v>85.82251282904542</c:v>
                </c:pt>
                <c:pt idx="13">
                  <c:v>84.6200197288638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5</c:f>
              <c:strCache>
                <c:ptCount val="14"/>
                <c:pt idx="0">
                  <c:v>5</c:v>
                </c:pt>
                <c:pt idx="1">
                  <c:v>6</c:v>
                </c:pt>
                <c:pt idx="2">
                  <c:v>6</c:v>
                </c:pt>
                <c:pt idx="3">
                  <c:v>6</c:v>
                </c:pt>
                <c:pt idx="4">
                  <c:v>6</c:v>
                </c:pt>
                <c:pt idx="5">
                  <c:v>6</c:v>
                </c:pt>
                <c:pt idx="6">
                  <c:v>7</c:v>
                </c:pt>
                <c:pt idx="7">
                  <c:v>7</c:v>
                </c:pt>
                <c:pt idx="8">
                  <c:v>7</c:v>
                </c:pt>
                <c:pt idx="9">
                  <c:v>7</c:v>
                </c:pt>
                <c:pt idx="10">
                  <c:v>7</c:v>
                </c:pt>
                <c:pt idx="11">
                  <c:v>8</c:v>
                </c:pt>
                <c:pt idx="12">
                  <c:v>8</c:v>
                </c:pt>
                <c:pt idx="13">
                  <c:v>8</c:v>
                </c:pt>
              </c:strCache>
            </c:strRef>
          </c:cat>
          <c:val>
            <c:numRef>
              <c:f>Sheet1!$D$2:$D$15</c:f>
              <c:numCache>
                <c:formatCode>General</c:formatCode>
                <c:ptCount val="14"/>
                <c:pt idx="0">
                  <c:v>88.32476147544077</c:v>
                </c:pt>
                <c:pt idx="1">
                  <c:v>90.7942866750161</c:v>
                </c:pt>
                <c:pt idx="2">
                  <c:v>93.19276449862038</c:v>
                </c:pt>
                <c:pt idx="3">
                  <c:v>95.5242973367128</c:v>
                </c:pt>
                <c:pt idx="4">
                  <c:v>97.79237327734556</c:v>
                </c:pt>
                <c:pt idx="5">
                  <c:v>100.0</c:v>
                </c:pt>
                <c:pt idx="6">
                  <c:v>97.40305971744858</c:v>
                </c:pt>
                <c:pt idx="7">
                  <c:v>95.4149666334256</c:v>
                </c:pt>
                <c:pt idx="8">
                  <c:v>93.9028346005156</c:v>
                </c:pt>
                <c:pt idx="9">
                  <c:v>93.02720374772477</c:v>
                </c:pt>
                <c:pt idx="10">
                  <c:v>92.18447687886919</c:v>
                </c:pt>
                <c:pt idx="11">
                  <c:v>91.37862160977585</c:v>
                </c:pt>
                <c:pt idx="12">
                  <c:v>90.61161904769838</c:v>
                </c:pt>
                <c:pt idx="13">
                  <c:v>89.8839242607254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5</c:f>
              <c:strCache>
                <c:ptCount val="14"/>
                <c:pt idx="0">
                  <c:v>5</c:v>
                </c:pt>
                <c:pt idx="1">
                  <c:v>6</c:v>
                </c:pt>
                <c:pt idx="2">
                  <c:v>6</c:v>
                </c:pt>
                <c:pt idx="3">
                  <c:v>6</c:v>
                </c:pt>
                <c:pt idx="4">
                  <c:v>6</c:v>
                </c:pt>
                <c:pt idx="5">
                  <c:v>6</c:v>
                </c:pt>
                <c:pt idx="6">
                  <c:v>7</c:v>
                </c:pt>
                <c:pt idx="7">
                  <c:v>7</c:v>
                </c:pt>
                <c:pt idx="8">
                  <c:v>7</c:v>
                </c:pt>
                <c:pt idx="9">
                  <c:v>7</c:v>
                </c:pt>
                <c:pt idx="10">
                  <c:v>7</c:v>
                </c:pt>
                <c:pt idx="11">
                  <c:v>8</c:v>
                </c:pt>
                <c:pt idx="12">
                  <c:v>8</c:v>
                </c:pt>
                <c:pt idx="13">
                  <c:v>8</c:v>
                </c:pt>
              </c:strCache>
            </c:strRef>
          </c:cat>
          <c:val>
            <c:numRef>
              <c:f>Sheet1!$E$2:$E$15</c:f>
              <c:numCache>
                <c:formatCode>General</c:formatCode>
                <c:ptCount val="14"/>
                <c:pt idx="0">
                  <c:v>0.7263440003075411</c:v>
                </c:pt>
                <c:pt idx="1">
                  <c:v>0.7359967692561287</c:v>
                </c:pt>
                <c:pt idx="2">
                  <c:v>0.7449917686000426</c:v>
                </c:pt>
                <c:pt idx="3">
                  <c:v>0.7533940167516061</c:v>
                </c:pt>
                <c:pt idx="4">
                  <c:v>0.7612602363129585</c:v>
                </c:pt>
                <c:pt idx="5">
                  <c:v>0.7686401362723725</c:v>
                </c:pt>
                <c:pt idx="6">
                  <c:v>0.7755774635205772</c:v>
                </c:pt>
                <c:pt idx="7">
                  <c:v>0.7821108706961062</c:v>
                </c:pt>
                <c:pt idx="8">
                  <c:v>0.7882746367301626</c:v>
                </c:pt>
                <c:pt idx="9">
                  <c:v>0.7940992684569808</c:v>
                </c:pt>
                <c:pt idx="10">
                  <c:v>0.7996120055799532</c:v>
                </c:pt>
                <c:pt idx="11">
                  <c:v>0.8048372466339309</c:v>
                </c:pt>
                <c:pt idx="12">
                  <c:v>0.8097969099977445</c:v>
                </c:pt>
                <c:pt idx="13">
                  <c:v>0.814510741224566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0"/>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10</c:v>
                </c:pt>
                <c:pt idx="1">
                  <c:v>10</c:v>
                </c:pt>
                <c:pt idx="2">
                  <c:v>11</c:v>
                </c:pt>
                <c:pt idx="3">
                  <c:v>11</c:v>
                </c:pt>
                <c:pt idx="4">
                  <c:v>11</c:v>
                </c:pt>
                <c:pt idx="5">
                  <c:v>11</c:v>
                </c:pt>
                <c:pt idx="6">
                  <c:v>11</c:v>
                </c:pt>
                <c:pt idx="7">
                  <c:v>12</c:v>
                </c:pt>
                <c:pt idx="8">
                  <c:v>12</c:v>
                </c:pt>
                <c:pt idx="9">
                  <c:v>12</c:v>
                </c:pt>
                <c:pt idx="10">
                  <c:v>12</c:v>
                </c:pt>
                <c:pt idx="11">
                  <c:v>12</c:v>
                </c:pt>
                <c:pt idx="12">
                  <c:v>13</c:v>
                </c:pt>
                <c:pt idx="13">
                  <c:v>13</c:v>
                </c:pt>
                <c:pt idx="14">
                  <c:v>13</c:v>
                </c:pt>
                <c:pt idx="15">
                  <c:v>13</c:v>
                </c:pt>
                <c:pt idx="16">
                  <c:v>13</c:v>
                </c:pt>
                <c:pt idx="17">
                  <c:v>14</c:v>
                </c:pt>
                <c:pt idx="18">
                  <c:v>14</c:v>
                </c:pt>
                <c:pt idx="19">
                  <c:v>14</c:v>
                </c:pt>
                <c:pt idx="20">
                  <c:v>14</c:v>
                </c:pt>
                <c:pt idx="21">
                  <c:v>14</c:v>
                </c:pt>
                <c:pt idx="22">
                  <c:v>15</c:v>
                </c:pt>
                <c:pt idx="23">
                  <c:v>15</c:v>
                </c:pt>
                <c:pt idx="24">
                  <c:v>15</c:v>
                </c:pt>
              </c:strCache>
            </c:strRef>
          </c:cat>
          <c:val>
            <c:numRef>
              <c:f>Sheet1!$B$2:$B$26</c:f>
              <c:numCache>
                <c:formatCode>General</c:formatCode>
                <c:ptCount val="25"/>
                <c:pt idx="0">
                  <c:v>123.33896064322664</c:v>
                </c:pt>
                <c:pt idx="1">
                  <c:v>118.63782042815407</c:v>
                </c:pt>
                <c:pt idx="2">
                  <c:v>114.55767805803619</c:v>
                </c:pt>
                <c:pt idx="3">
                  <c:v>110.97986751305041</c:v>
                </c:pt>
                <c:pt idx="4">
                  <c:v>107.81192530006378</c:v>
                </c:pt>
                <c:pt idx="5">
                  <c:v>106.09666253851455</c:v>
                </c:pt>
                <c:pt idx="6">
                  <c:v>104.46398949582114</c:v>
                </c:pt>
                <c:pt idx="7">
                  <c:v>102.90744780405706</c:v>
                </c:pt>
                <c:pt idx="8">
                  <c:v>101.4212077901812</c:v>
                </c:pt>
                <c:pt idx="9">
                  <c:v>100.0</c:v>
                </c:pt>
                <c:pt idx="10">
                  <c:v>98.6390545999119</c:v>
                </c:pt>
                <c:pt idx="11">
                  <c:v>97.33404774694844</c:v>
                </c:pt>
                <c:pt idx="12">
                  <c:v>96.08105411475606</c:v>
                </c:pt>
                <c:pt idx="13">
                  <c:v>93.92648747731205</c:v>
                </c:pt>
                <c:pt idx="14">
                  <c:v>91.8902104699379</c:v>
                </c:pt>
                <c:pt idx="15">
                  <c:v>89.96162960941322</c:v>
                </c:pt>
                <c:pt idx="16">
                  <c:v>88.13139335623778</c:v>
                </c:pt>
                <c:pt idx="17">
                  <c:v>86.46749075558112</c:v>
                </c:pt>
                <c:pt idx="18">
                  <c:v>84.9472788858991</c:v>
                </c:pt>
                <c:pt idx="19">
                  <c:v>83.48524033920458</c:v>
                </c:pt>
                <c:pt idx="20">
                  <c:v>82.07802885749193</c:v>
                </c:pt>
                <c:pt idx="21">
                  <c:v>80.72254067097975</c:v>
                </c:pt>
                <c:pt idx="22">
                  <c:v>79.41589429348186</c:v>
                </c:pt>
                <c:pt idx="23">
                  <c:v>78.15541214529343</c:v>
                </c:pt>
                <c:pt idx="24">
                  <c:v>76.9386038319125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10</c:v>
                </c:pt>
                <c:pt idx="1">
                  <c:v>10</c:v>
                </c:pt>
                <c:pt idx="2">
                  <c:v>11</c:v>
                </c:pt>
                <c:pt idx="3">
                  <c:v>11</c:v>
                </c:pt>
                <c:pt idx="4">
                  <c:v>11</c:v>
                </c:pt>
                <c:pt idx="5">
                  <c:v>11</c:v>
                </c:pt>
                <c:pt idx="6">
                  <c:v>11</c:v>
                </c:pt>
                <c:pt idx="7">
                  <c:v>12</c:v>
                </c:pt>
                <c:pt idx="8">
                  <c:v>12</c:v>
                </c:pt>
                <c:pt idx="9">
                  <c:v>12</c:v>
                </c:pt>
                <c:pt idx="10">
                  <c:v>12</c:v>
                </c:pt>
                <c:pt idx="11">
                  <c:v>12</c:v>
                </c:pt>
                <c:pt idx="12">
                  <c:v>13</c:v>
                </c:pt>
                <c:pt idx="13">
                  <c:v>13</c:v>
                </c:pt>
                <c:pt idx="14">
                  <c:v>13</c:v>
                </c:pt>
                <c:pt idx="15">
                  <c:v>13</c:v>
                </c:pt>
                <c:pt idx="16">
                  <c:v>13</c:v>
                </c:pt>
                <c:pt idx="17">
                  <c:v>14</c:v>
                </c:pt>
                <c:pt idx="18">
                  <c:v>14</c:v>
                </c:pt>
                <c:pt idx="19">
                  <c:v>14</c:v>
                </c:pt>
                <c:pt idx="20">
                  <c:v>14</c:v>
                </c:pt>
                <c:pt idx="21">
                  <c:v>14</c:v>
                </c:pt>
                <c:pt idx="22">
                  <c:v>15</c:v>
                </c:pt>
                <c:pt idx="23">
                  <c:v>15</c:v>
                </c:pt>
                <c:pt idx="24">
                  <c:v>15</c:v>
                </c:pt>
              </c:strCache>
            </c:strRef>
          </c:cat>
          <c:val>
            <c:numRef>
              <c:f>Sheet1!$C$2:$C$26</c:f>
              <c:numCache>
                <c:formatCode>General</c:formatCode>
                <c:ptCount val="25"/>
                <c:pt idx="0">
                  <c:v>104.93372583109384</c:v>
                </c:pt>
                <c:pt idx="1">
                  <c:v>102.90832270483772</c:v>
                </c:pt>
                <c:pt idx="2">
                  <c:v>101.27418536894723</c:v>
                </c:pt>
                <c:pt idx="3">
                  <c:v>99.9557191283683</c:v>
                </c:pt>
                <c:pt idx="4">
                  <c:v>98.89339225565543</c:v>
                </c:pt>
                <c:pt idx="5">
                  <c:v>99.07588476807578</c:v>
                </c:pt>
                <c:pt idx="6">
                  <c:v>99.27983161656022</c:v>
                </c:pt>
                <c:pt idx="7">
                  <c:v>99.50309940748706</c:v>
                </c:pt>
                <c:pt idx="8">
                  <c:v>99.74374519340876</c:v>
                </c:pt>
                <c:pt idx="9">
                  <c:v>100.0</c:v>
                </c:pt>
                <c:pt idx="10">
                  <c:v>100.27025356990582</c:v>
                </c:pt>
                <c:pt idx="11">
                  <c:v>100.55304029456367</c:v>
                </c:pt>
                <c:pt idx="12">
                  <c:v>100.84702628705176</c:v>
                </c:pt>
                <c:pt idx="13">
                  <c:v>100.14321267359587</c:v>
                </c:pt>
                <c:pt idx="14">
                  <c:v>99.49592012606858</c:v>
                </c:pt>
                <c:pt idx="15">
                  <c:v>98.8993989087918</c:v>
                </c:pt>
                <c:pt idx="16">
                  <c:v>98.3485811849562</c:v>
                </c:pt>
                <c:pt idx="17">
                  <c:v>97.92496748650143</c:v>
                </c:pt>
                <c:pt idx="18">
                  <c:v>97.61087715834681</c:v>
                </c:pt>
                <c:pt idx="19">
                  <c:v>97.31418969208295</c:v>
                </c:pt>
                <c:pt idx="20">
                  <c:v>97.0338407070184</c:v>
                </c:pt>
                <c:pt idx="21">
                  <c:v>96.76883495634</c:v>
                </c:pt>
                <c:pt idx="22">
                  <c:v>96.51824181961051</c:v>
                </c:pt>
                <c:pt idx="23">
                  <c:v>96.28119104432379</c:v>
                </c:pt>
                <c:pt idx="24">
                  <c:v>96.0568687331818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10</c:v>
                </c:pt>
                <c:pt idx="1">
                  <c:v>10</c:v>
                </c:pt>
                <c:pt idx="2">
                  <c:v>11</c:v>
                </c:pt>
                <c:pt idx="3">
                  <c:v>11</c:v>
                </c:pt>
                <c:pt idx="4">
                  <c:v>11</c:v>
                </c:pt>
                <c:pt idx="5">
                  <c:v>11</c:v>
                </c:pt>
                <c:pt idx="6">
                  <c:v>11</c:v>
                </c:pt>
                <c:pt idx="7">
                  <c:v>12</c:v>
                </c:pt>
                <c:pt idx="8">
                  <c:v>12</c:v>
                </c:pt>
                <c:pt idx="9">
                  <c:v>12</c:v>
                </c:pt>
                <c:pt idx="10">
                  <c:v>12</c:v>
                </c:pt>
                <c:pt idx="11">
                  <c:v>12</c:v>
                </c:pt>
                <c:pt idx="12">
                  <c:v>13</c:v>
                </c:pt>
                <c:pt idx="13">
                  <c:v>13</c:v>
                </c:pt>
                <c:pt idx="14">
                  <c:v>13</c:v>
                </c:pt>
                <c:pt idx="15">
                  <c:v>13</c:v>
                </c:pt>
                <c:pt idx="16">
                  <c:v>13</c:v>
                </c:pt>
                <c:pt idx="17">
                  <c:v>14</c:v>
                </c:pt>
                <c:pt idx="18">
                  <c:v>14</c:v>
                </c:pt>
                <c:pt idx="19">
                  <c:v>14</c:v>
                </c:pt>
                <c:pt idx="20">
                  <c:v>14</c:v>
                </c:pt>
                <c:pt idx="21">
                  <c:v>14</c:v>
                </c:pt>
                <c:pt idx="22">
                  <c:v>15</c:v>
                </c:pt>
                <c:pt idx="23">
                  <c:v>15</c:v>
                </c:pt>
                <c:pt idx="24">
                  <c:v>15</c:v>
                </c:pt>
              </c:strCache>
            </c:strRef>
          </c:cat>
          <c:val>
            <c:numRef>
              <c:f>Sheet1!$D$2:$D$26</c:f>
              <c:numCache>
                <c:formatCode>General</c:formatCode>
                <c:ptCount val="25"/>
                <c:pt idx="0">
                  <c:v>98.60577221481819</c:v>
                </c:pt>
                <c:pt idx="1">
                  <c:v>97.49073797013172</c:v>
                </c:pt>
                <c:pt idx="2">
                  <c:v>96.69035233145685</c:v>
                </c:pt>
                <c:pt idx="3">
                  <c:v>96.14332297137874</c:v>
                </c:pt>
                <c:pt idx="4">
                  <c:v>95.80106492449706</c:v>
                </c:pt>
                <c:pt idx="5">
                  <c:v>96.64084624348382</c:v>
                </c:pt>
                <c:pt idx="6">
                  <c:v>97.48126070055922</c:v>
                </c:pt>
                <c:pt idx="7">
                  <c:v>98.32165830538933</c:v>
                </c:pt>
                <c:pt idx="8">
                  <c:v>99.16142815541664</c:v>
                </c:pt>
                <c:pt idx="9">
                  <c:v>100.0</c:v>
                </c:pt>
                <c:pt idx="10">
                  <c:v>100.83684470352068</c:v>
                </c:pt>
                <c:pt idx="11">
                  <c:v>101.67147388612037</c:v>
                </c:pt>
                <c:pt idx="12">
                  <c:v>102.50343896224526</c:v>
                </c:pt>
                <c:pt idx="13">
                  <c:v>102.29764251247222</c:v>
                </c:pt>
                <c:pt idx="14">
                  <c:v>102.12730144817696</c:v>
                </c:pt>
                <c:pt idx="15">
                  <c:v>101.98831295884577</c:v>
                </c:pt>
                <c:pt idx="16">
                  <c:v>101.87706574177137</c:v>
                </c:pt>
                <c:pt idx="17">
                  <c:v>101.88024151539383</c:v>
                </c:pt>
                <c:pt idx="18">
                  <c:v>101.98177507597936</c:v>
                </c:pt>
                <c:pt idx="19">
                  <c:v>102.08669954409334</c:v>
                </c:pt>
                <c:pt idx="20">
                  <c:v>102.19473702204493</c:v>
                </c:pt>
                <c:pt idx="21">
                  <c:v>102.30561870161556</c:v>
                </c:pt>
                <c:pt idx="22">
                  <c:v>102.41908582162682</c:v>
                </c:pt>
                <c:pt idx="23">
                  <c:v>102.53489032199967</c:v>
                </c:pt>
                <c:pt idx="24">
                  <c:v>102.652795250278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10</c:v>
                </c:pt>
                <c:pt idx="1">
                  <c:v>10</c:v>
                </c:pt>
                <c:pt idx="2">
                  <c:v>11</c:v>
                </c:pt>
                <c:pt idx="3">
                  <c:v>11</c:v>
                </c:pt>
                <c:pt idx="4">
                  <c:v>11</c:v>
                </c:pt>
                <c:pt idx="5">
                  <c:v>11</c:v>
                </c:pt>
                <c:pt idx="6">
                  <c:v>11</c:v>
                </c:pt>
                <c:pt idx="7">
                  <c:v>12</c:v>
                </c:pt>
                <c:pt idx="8">
                  <c:v>12</c:v>
                </c:pt>
                <c:pt idx="9">
                  <c:v>12</c:v>
                </c:pt>
                <c:pt idx="10">
                  <c:v>12</c:v>
                </c:pt>
                <c:pt idx="11">
                  <c:v>12</c:v>
                </c:pt>
                <c:pt idx="12">
                  <c:v>13</c:v>
                </c:pt>
                <c:pt idx="13">
                  <c:v>13</c:v>
                </c:pt>
                <c:pt idx="14">
                  <c:v>13</c:v>
                </c:pt>
                <c:pt idx="15">
                  <c:v>13</c:v>
                </c:pt>
                <c:pt idx="16">
                  <c:v>13</c:v>
                </c:pt>
                <c:pt idx="17">
                  <c:v>14</c:v>
                </c:pt>
                <c:pt idx="18">
                  <c:v>14</c:v>
                </c:pt>
                <c:pt idx="19">
                  <c:v>14</c:v>
                </c:pt>
                <c:pt idx="20">
                  <c:v>14</c:v>
                </c:pt>
                <c:pt idx="21">
                  <c:v>14</c:v>
                </c:pt>
                <c:pt idx="22">
                  <c:v>15</c:v>
                </c:pt>
                <c:pt idx="23">
                  <c:v>15</c:v>
                </c:pt>
                <c:pt idx="24">
                  <c:v>15</c:v>
                </c:pt>
              </c:strCache>
            </c:strRef>
          </c:cat>
          <c:val>
            <c:numRef>
              <c:f>Sheet1!$E$2:$E$26</c:f>
              <c:numCache>
                <c:formatCode>General</c:formatCode>
                <c:ptCount val="25"/>
                <c:pt idx="0">
                  <c:v>0.705624716161701</c:v>
                </c:pt>
                <c:pt idx="1">
                  <c:v>0.7113021565443104</c:v>
                </c:pt>
                <c:pt idx="2">
                  <c:v>0.7167647458244559</c:v>
                </c:pt>
                <c:pt idx="3">
                  <c:v>0.7220244534228876</c:v>
                </c:pt>
                <c:pt idx="4">
                  <c:v>0.7270923758764357</c:v>
                </c:pt>
                <c:pt idx="5">
                  <c:v>0.7319788149833929</c:v>
                </c:pt>
                <c:pt idx="6">
                  <c:v>0.7366933477013633</c:v>
                </c:pt>
                <c:pt idx="7">
                  <c:v>0.7412448887955487</c:v>
                </c:pt>
                <c:pt idx="8">
                  <c:v>0.7456417470997876</c:v>
                </c:pt>
                <c:pt idx="9">
                  <c:v>0.749891676137385</c:v>
                </c:pt>
                <c:pt idx="10">
                  <c:v>0.7540019197505752</c:v>
                </c:pt>
                <c:pt idx="11">
                  <c:v>0.7579792533035166</c:v>
                </c:pt>
                <c:pt idx="12">
                  <c:v>0.7618300209518297</c:v>
                </c:pt>
                <c:pt idx="13">
                  <c:v>0.765560169409906</c:v>
                </c:pt>
                <c:pt idx="14">
                  <c:v>0.7691752785940246</c:v>
                </c:pt>
                <c:pt idx="15">
                  <c:v>0.7726805894733865</c:v>
                </c:pt>
                <c:pt idx="16">
                  <c:v>0.7760810294214284</c:v>
                </c:pt>
                <c:pt idx="17">
                  <c:v>0.7793812353253131</c:v>
                </c:pt>
                <c:pt idx="18">
                  <c:v>0.7825855746815178</c:v>
                </c:pt>
                <c:pt idx="19">
                  <c:v>0.7856981648793486</c:v>
                </c:pt>
                <c:pt idx="20">
                  <c:v>0.7887228908514115</c:v>
                </c:pt>
                <c:pt idx="21">
                  <c:v>0.7916634212501392</c:v>
                </c:pt>
                <c:pt idx="22">
                  <c:v>0.7945232232920041</c:v>
                </c:pt>
                <c:pt idx="23">
                  <c:v>0.7973055763957008</c:v>
                </c:pt>
                <c:pt idx="24">
                  <c:v>0.800013584727087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0"/>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2</c:f>
              <c:strCache>
                <c:ptCount val="41"/>
                <c:pt idx="0">
                  <c:v>17</c:v>
                </c:pt>
                <c:pt idx="1">
                  <c:v>17</c:v>
                </c:pt>
                <c:pt idx="2">
                  <c:v>17</c:v>
                </c:pt>
                <c:pt idx="3">
                  <c:v>18</c:v>
                </c:pt>
                <c:pt idx="4">
                  <c:v>18</c:v>
                </c:pt>
                <c:pt idx="5">
                  <c:v>18</c:v>
                </c:pt>
                <c:pt idx="6">
                  <c:v>18</c:v>
                </c:pt>
                <c:pt idx="7">
                  <c:v>18</c:v>
                </c:pt>
                <c:pt idx="8">
                  <c:v>19</c:v>
                </c:pt>
                <c:pt idx="9">
                  <c:v>19</c:v>
                </c:pt>
                <c:pt idx="10">
                  <c:v>19</c:v>
                </c:pt>
                <c:pt idx="11">
                  <c:v>19</c:v>
                </c:pt>
                <c:pt idx="12">
                  <c:v>19</c:v>
                </c:pt>
                <c:pt idx="13">
                  <c:v>20</c:v>
                </c:pt>
                <c:pt idx="14">
                  <c:v>20</c:v>
                </c:pt>
                <c:pt idx="15">
                  <c:v>20</c:v>
                </c:pt>
                <c:pt idx="16">
                  <c:v>20</c:v>
                </c:pt>
                <c:pt idx="17">
                  <c:v>20</c:v>
                </c:pt>
                <c:pt idx="18">
                  <c:v>21</c:v>
                </c:pt>
                <c:pt idx="19">
                  <c:v>21</c:v>
                </c:pt>
                <c:pt idx="20">
                  <c:v>21</c:v>
                </c:pt>
                <c:pt idx="21">
                  <c:v>21</c:v>
                </c:pt>
                <c:pt idx="22">
                  <c:v>21</c:v>
                </c:pt>
                <c:pt idx="23">
                  <c:v>22</c:v>
                </c:pt>
                <c:pt idx="24">
                  <c:v>22</c:v>
                </c:pt>
                <c:pt idx="25">
                  <c:v>22</c:v>
                </c:pt>
                <c:pt idx="26">
                  <c:v>22</c:v>
                </c:pt>
                <c:pt idx="27">
                  <c:v>22</c:v>
                </c:pt>
                <c:pt idx="28">
                  <c:v>23</c:v>
                </c:pt>
                <c:pt idx="29">
                  <c:v>23</c:v>
                </c:pt>
                <c:pt idx="30">
                  <c:v>23</c:v>
                </c:pt>
                <c:pt idx="31">
                  <c:v>23</c:v>
                </c:pt>
                <c:pt idx="32">
                  <c:v>23</c:v>
                </c:pt>
                <c:pt idx="33">
                  <c:v>24</c:v>
                </c:pt>
                <c:pt idx="34">
                  <c:v>24</c:v>
                </c:pt>
                <c:pt idx="35">
                  <c:v>24</c:v>
                </c:pt>
                <c:pt idx="36">
                  <c:v>24</c:v>
                </c:pt>
                <c:pt idx="37">
                  <c:v>24</c:v>
                </c:pt>
                <c:pt idx="38">
                  <c:v>25</c:v>
                </c:pt>
                <c:pt idx="39">
                  <c:v>25</c:v>
                </c:pt>
                <c:pt idx="40">
                  <c:v>25</c:v>
                </c:pt>
              </c:strCache>
            </c:strRef>
          </c:cat>
          <c:val>
            <c:numRef>
              <c:f>Sheet1!$B$2:$B$42</c:f>
              <c:numCache>
                <c:formatCode>General</c:formatCode>
                <c:ptCount val="41"/>
                <c:pt idx="0">
                  <c:v>121.85749948130582</c:v>
                </c:pt>
                <c:pt idx="1">
                  <c:v>119.27223043060158</c:v>
                </c:pt>
                <c:pt idx="2">
                  <c:v>116.81029700680496</c:v>
                </c:pt>
                <c:pt idx="3">
                  <c:v>114.46342037981039</c:v>
                </c:pt>
                <c:pt idx="4">
                  <c:v>112.22395857448586</c:v>
                </c:pt>
                <c:pt idx="5">
                  <c:v>110.08485705775006</c:v>
                </c:pt>
                <c:pt idx="6">
                  <c:v>108.03960255386684</c:v>
                </c:pt>
                <c:pt idx="7">
                  <c:v>106.08218002300089</c:v>
                </c:pt>
                <c:pt idx="8">
                  <c:v>104.20703270797638</c:v>
                </c:pt>
                <c:pt idx="9">
                  <c:v>103.57906463949182</c:v>
                </c:pt>
                <c:pt idx="10">
                  <c:v>102.96042231636355</c:v>
                </c:pt>
                <c:pt idx="11">
                  <c:v>102.35089745369964</c:v>
                </c:pt>
                <c:pt idx="12">
                  <c:v>101.75028738528466</c:v>
                </c:pt>
                <c:pt idx="13">
                  <c:v>101.15839489190739</c:v>
                </c:pt>
                <c:pt idx="14">
                  <c:v>100.5750280356642</c:v>
                </c:pt>
                <c:pt idx="15">
                  <c:v>100.0</c:v>
                </c:pt>
                <c:pt idx="16">
                  <c:v>99.4331289352423</c:v>
                </c:pt>
                <c:pt idx="17">
                  <c:v>98.87423780940871</c:v>
                </c:pt>
                <c:pt idx="18">
                  <c:v>98.32315426407871</c:v>
                </c:pt>
                <c:pt idx="19">
                  <c:v>97.77971047512433</c:v>
                </c:pt>
                <c:pt idx="20">
                  <c:v>97.24374301810364</c:v>
                </c:pt>
                <c:pt idx="21">
                  <c:v>96.71509273814263</c:v>
                </c:pt>
                <c:pt idx="22">
                  <c:v>96.1936046241261</c:v>
                </c:pt>
                <c:pt idx="23">
                  <c:v>95.6791276870325</c:v>
                </c:pt>
                <c:pt idx="24">
                  <c:v>95.1715148422524</c:v>
                </c:pt>
                <c:pt idx="25">
                  <c:v>94.6706227957454</c:v>
                </c:pt>
                <c:pt idx="26">
                  <c:v>94.32513855281786</c:v>
                </c:pt>
                <c:pt idx="27">
                  <c:v>93.98194485299925</c:v>
                </c:pt>
                <c:pt idx="28">
                  <c:v>93.64101842712644</c:v>
                </c:pt>
                <c:pt idx="29">
                  <c:v>93.30233633161829</c:v>
                </c:pt>
                <c:pt idx="30">
                  <c:v>92.96587594266734</c:v>
                </c:pt>
                <c:pt idx="31">
                  <c:v>92.63161495055361</c:v>
                </c:pt>
                <c:pt idx="32">
                  <c:v>92.29953135408327</c:v>
                </c:pt>
                <c:pt idx="33">
                  <c:v>91.96960345514599</c:v>
                </c:pt>
                <c:pt idx="34">
                  <c:v>91.64180985338342</c:v>
                </c:pt>
                <c:pt idx="35">
                  <c:v>91.3161294409774</c:v>
                </c:pt>
                <c:pt idx="36">
                  <c:v>90.99254139754387</c:v>
                </c:pt>
                <c:pt idx="37">
                  <c:v>90.67102518513582</c:v>
                </c:pt>
                <c:pt idx="38">
                  <c:v>90.35156054335114</c:v>
                </c:pt>
                <c:pt idx="39">
                  <c:v>90.03412748454296</c:v>
                </c:pt>
                <c:pt idx="40">
                  <c:v>89.7187062891303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2</c:f>
              <c:strCache>
                <c:ptCount val="41"/>
                <c:pt idx="0">
                  <c:v>17</c:v>
                </c:pt>
                <c:pt idx="1">
                  <c:v>17</c:v>
                </c:pt>
                <c:pt idx="2">
                  <c:v>17</c:v>
                </c:pt>
                <c:pt idx="3">
                  <c:v>18</c:v>
                </c:pt>
                <c:pt idx="4">
                  <c:v>18</c:v>
                </c:pt>
                <c:pt idx="5">
                  <c:v>18</c:v>
                </c:pt>
                <c:pt idx="6">
                  <c:v>18</c:v>
                </c:pt>
                <c:pt idx="7">
                  <c:v>18</c:v>
                </c:pt>
                <c:pt idx="8">
                  <c:v>19</c:v>
                </c:pt>
                <c:pt idx="9">
                  <c:v>19</c:v>
                </c:pt>
                <c:pt idx="10">
                  <c:v>19</c:v>
                </c:pt>
                <c:pt idx="11">
                  <c:v>19</c:v>
                </c:pt>
                <c:pt idx="12">
                  <c:v>19</c:v>
                </c:pt>
                <c:pt idx="13">
                  <c:v>20</c:v>
                </c:pt>
                <c:pt idx="14">
                  <c:v>20</c:v>
                </c:pt>
                <c:pt idx="15">
                  <c:v>20</c:v>
                </c:pt>
                <c:pt idx="16">
                  <c:v>20</c:v>
                </c:pt>
                <c:pt idx="17">
                  <c:v>20</c:v>
                </c:pt>
                <c:pt idx="18">
                  <c:v>21</c:v>
                </c:pt>
                <c:pt idx="19">
                  <c:v>21</c:v>
                </c:pt>
                <c:pt idx="20">
                  <c:v>21</c:v>
                </c:pt>
                <c:pt idx="21">
                  <c:v>21</c:v>
                </c:pt>
                <c:pt idx="22">
                  <c:v>21</c:v>
                </c:pt>
                <c:pt idx="23">
                  <c:v>22</c:v>
                </c:pt>
                <c:pt idx="24">
                  <c:v>22</c:v>
                </c:pt>
                <c:pt idx="25">
                  <c:v>22</c:v>
                </c:pt>
                <c:pt idx="26">
                  <c:v>22</c:v>
                </c:pt>
                <c:pt idx="27">
                  <c:v>22</c:v>
                </c:pt>
                <c:pt idx="28">
                  <c:v>23</c:v>
                </c:pt>
                <c:pt idx="29">
                  <c:v>23</c:v>
                </c:pt>
                <c:pt idx="30">
                  <c:v>23</c:v>
                </c:pt>
                <c:pt idx="31">
                  <c:v>23</c:v>
                </c:pt>
                <c:pt idx="32">
                  <c:v>23</c:v>
                </c:pt>
                <c:pt idx="33">
                  <c:v>24</c:v>
                </c:pt>
                <c:pt idx="34">
                  <c:v>24</c:v>
                </c:pt>
                <c:pt idx="35">
                  <c:v>24</c:v>
                </c:pt>
                <c:pt idx="36">
                  <c:v>24</c:v>
                </c:pt>
                <c:pt idx="37">
                  <c:v>24</c:v>
                </c:pt>
                <c:pt idx="38">
                  <c:v>25</c:v>
                </c:pt>
                <c:pt idx="39">
                  <c:v>25</c:v>
                </c:pt>
                <c:pt idx="40">
                  <c:v>25</c:v>
                </c:pt>
              </c:strCache>
            </c:strRef>
          </c:cat>
          <c:val>
            <c:numRef>
              <c:f>Sheet1!$C$2:$C$42</c:f>
              <c:numCache>
                <c:formatCode>General</c:formatCode>
                <c:ptCount val="41"/>
                <c:pt idx="0">
                  <c:v>103.68494675657854</c:v>
                </c:pt>
                <c:pt idx="1">
                  <c:v>102.67933945600929</c:v>
                </c:pt>
                <c:pt idx="2">
                  <c:v>101.7291412040737</c:v>
                </c:pt>
                <c:pt idx="3">
                  <c:v>100.83078502871503</c:v>
                </c:pt>
                <c:pt idx="4">
                  <c:v>99.9809380496892</c:v>
                </c:pt>
                <c:pt idx="5">
                  <c:v>99.17648896787375</c:v>
                </c:pt>
                <c:pt idx="6">
                  <c:v>98.41453552191062</c:v>
                </c:pt>
                <c:pt idx="7">
                  <c:v>97.69237207783726</c:v>
                </c:pt>
                <c:pt idx="8">
                  <c:v>97.00747748440774</c:v>
                </c:pt>
                <c:pt idx="9">
                  <c:v>97.4456833282906</c:v>
                </c:pt>
                <c:pt idx="10">
                  <c:v>97.88019198551969</c:v>
                </c:pt>
                <c:pt idx="11">
                  <c:v>98.31108410751163</c:v>
                </c:pt>
                <c:pt idx="12">
                  <c:v>98.73843741176961</c:v>
                </c:pt>
                <c:pt idx="13">
                  <c:v>99.1623267984489</c:v>
                </c:pt>
                <c:pt idx="14">
                  <c:v>99.5828244622733</c:v>
                </c:pt>
                <c:pt idx="15">
                  <c:v>100.0</c:v>
                </c:pt>
                <c:pt idx="16">
                  <c:v>100.41392051360249</c:v>
                </c:pt>
                <c:pt idx="17">
                  <c:v>100.82465070934823</c:v>
                </c:pt>
                <c:pt idx="18">
                  <c:v>101.23225299293861</c:v>
                </c:pt>
                <c:pt idx="19">
                  <c:v>101.63678756086492</c:v>
                </c:pt>
                <c:pt idx="20">
                  <c:v>102.03831248812696</c:v>
                </c:pt>
                <c:pt idx="21">
                  <c:v>102.43688381246807</c:v>
                </c:pt>
                <c:pt idx="22">
                  <c:v>102.8325556152586</c:v>
                </c:pt>
                <c:pt idx="23">
                  <c:v>103.2253800991617</c:v>
                </c:pt>
                <c:pt idx="24">
                  <c:v>103.6154076627072</c:v>
                </c:pt>
                <c:pt idx="25">
                  <c:v>104.00268697189993</c:v>
                </c:pt>
                <c:pt idx="26">
                  <c:v>104.55019180151072</c:v>
                </c:pt>
                <c:pt idx="27">
                  <c:v>105.09329903180694</c:v>
                </c:pt>
                <c:pt idx="28">
                  <c:v>105.63205382814623</c:v>
                </c:pt>
                <c:pt idx="29">
                  <c:v>106.16650073053981</c:v>
                </c:pt>
                <c:pt idx="30">
                  <c:v>106.69668366482883</c:v>
                </c:pt>
                <c:pt idx="31">
                  <c:v>107.22264595360957</c:v>
                </c:pt>
                <c:pt idx="32">
                  <c:v>107.74443032692491</c:v>
                </c:pt>
                <c:pt idx="33">
                  <c:v>108.26207893272215</c:v>
                </c:pt>
                <c:pt idx="34">
                  <c:v>108.77563334707871</c:v>
                </c:pt>
                <c:pt idx="35">
                  <c:v>109.28513458421476</c:v>
                </c:pt>
                <c:pt idx="36">
                  <c:v>109.79062310628494</c:v>
                </c:pt>
                <c:pt idx="37">
                  <c:v>110.29213883296205</c:v>
                </c:pt>
                <c:pt idx="38">
                  <c:v>110.78972115081649</c:v>
                </c:pt>
                <c:pt idx="39">
                  <c:v>111.28340892249547</c:v>
                </c:pt>
                <c:pt idx="40">
                  <c:v>111.7732404957097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2</c:f>
              <c:strCache>
                <c:ptCount val="41"/>
                <c:pt idx="0">
                  <c:v>17</c:v>
                </c:pt>
                <c:pt idx="1">
                  <c:v>17</c:v>
                </c:pt>
                <c:pt idx="2">
                  <c:v>17</c:v>
                </c:pt>
                <c:pt idx="3">
                  <c:v>18</c:v>
                </c:pt>
                <c:pt idx="4">
                  <c:v>18</c:v>
                </c:pt>
                <c:pt idx="5">
                  <c:v>18</c:v>
                </c:pt>
                <c:pt idx="6">
                  <c:v>18</c:v>
                </c:pt>
                <c:pt idx="7">
                  <c:v>18</c:v>
                </c:pt>
                <c:pt idx="8">
                  <c:v>19</c:v>
                </c:pt>
                <c:pt idx="9">
                  <c:v>19</c:v>
                </c:pt>
                <c:pt idx="10">
                  <c:v>19</c:v>
                </c:pt>
                <c:pt idx="11">
                  <c:v>19</c:v>
                </c:pt>
                <c:pt idx="12">
                  <c:v>19</c:v>
                </c:pt>
                <c:pt idx="13">
                  <c:v>20</c:v>
                </c:pt>
                <c:pt idx="14">
                  <c:v>20</c:v>
                </c:pt>
                <c:pt idx="15">
                  <c:v>20</c:v>
                </c:pt>
                <c:pt idx="16">
                  <c:v>20</c:v>
                </c:pt>
                <c:pt idx="17">
                  <c:v>20</c:v>
                </c:pt>
                <c:pt idx="18">
                  <c:v>21</c:v>
                </c:pt>
                <c:pt idx="19">
                  <c:v>21</c:v>
                </c:pt>
                <c:pt idx="20">
                  <c:v>21</c:v>
                </c:pt>
                <c:pt idx="21">
                  <c:v>21</c:v>
                </c:pt>
                <c:pt idx="22">
                  <c:v>21</c:v>
                </c:pt>
                <c:pt idx="23">
                  <c:v>22</c:v>
                </c:pt>
                <c:pt idx="24">
                  <c:v>22</c:v>
                </c:pt>
                <c:pt idx="25">
                  <c:v>22</c:v>
                </c:pt>
                <c:pt idx="26">
                  <c:v>22</c:v>
                </c:pt>
                <c:pt idx="27">
                  <c:v>22</c:v>
                </c:pt>
                <c:pt idx="28">
                  <c:v>23</c:v>
                </c:pt>
                <c:pt idx="29">
                  <c:v>23</c:v>
                </c:pt>
                <c:pt idx="30">
                  <c:v>23</c:v>
                </c:pt>
                <c:pt idx="31">
                  <c:v>23</c:v>
                </c:pt>
                <c:pt idx="32">
                  <c:v>23</c:v>
                </c:pt>
                <c:pt idx="33">
                  <c:v>24</c:v>
                </c:pt>
                <c:pt idx="34">
                  <c:v>24</c:v>
                </c:pt>
                <c:pt idx="35">
                  <c:v>24</c:v>
                </c:pt>
                <c:pt idx="36">
                  <c:v>24</c:v>
                </c:pt>
                <c:pt idx="37">
                  <c:v>24</c:v>
                </c:pt>
                <c:pt idx="38">
                  <c:v>25</c:v>
                </c:pt>
                <c:pt idx="39">
                  <c:v>25</c:v>
                </c:pt>
                <c:pt idx="40">
                  <c:v>25</c:v>
                </c:pt>
              </c:strCache>
            </c:strRef>
          </c:cat>
          <c:val>
            <c:numRef>
              <c:f>Sheet1!$D$2:$D$42</c:f>
              <c:numCache>
                <c:formatCode>General</c:formatCode>
                <c:ptCount val="41"/>
                <c:pt idx="0">
                  <c:v>95.71232250364848</c:v>
                </c:pt>
                <c:pt idx="1">
                  <c:v>95.38776964122427</c:v>
                </c:pt>
                <c:pt idx="2">
                  <c:v>95.08966062758128</c:v>
                </c:pt>
                <c:pt idx="3">
                  <c:v>94.8164301097877</c:v>
                </c:pt>
                <c:pt idx="4">
                  <c:v>94.56657571550325</c:v>
                </c:pt>
                <c:pt idx="5">
                  <c:v>94.3386612548044</c:v>
                </c:pt>
                <c:pt idx="6">
                  <c:v>94.13131849392704</c:v>
                </c:pt>
                <c:pt idx="7">
                  <c:v>93.94324776662901</c:v>
                </c:pt>
                <c:pt idx="8">
                  <c:v>93.77321765435751</c:v>
                </c:pt>
                <c:pt idx="9">
                  <c:v>94.68968815398404</c:v>
                </c:pt>
                <c:pt idx="10">
                  <c:v>95.59685291600117</c:v>
                </c:pt>
                <c:pt idx="11">
                  <c:v>96.4949157501754</c:v>
                </c:pt>
                <c:pt idx="12">
                  <c:v>97.38407392687726</c:v>
                </c:pt>
                <c:pt idx="13">
                  <c:v>98.26451841215864</c:v>
                </c:pt>
                <c:pt idx="14">
                  <c:v>99.13643409398748</c:v>
                </c:pt>
                <c:pt idx="15">
                  <c:v>100.0</c:v>
                </c:pt>
                <c:pt idx="16">
                  <c:v>100.85538950709608</c:v>
                </c:pt>
                <c:pt idx="17">
                  <c:v>101.70277054320198</c:v>
                </c:pt>
                <c:pt idx="18">
                  <c:v>102.54230578151197</c:v>
                </c:pt>
                <c:pt idx="19">
                  <c:v>103.37415282749609</c:v>
                </c:pt>
                <c:pt idx="20">
                  <c:v>104.19846439895232</c:v>
                </c:pt>
                <c:pt idx="21">
                  <c:v>105.01538849938044</c:v>
                </c:pt>
                <c:pt idx="22">
                  <c:v>105.82506858492886</c:v>
                </c:pt>
                <c:pt idx="23">
                  <c:v>106.62764372516271</c:v>
                </c:pt>
                <c:pt idx="24">
                  <c:v>107.42324875788636</c:v>
                </c:pt>
                <c:pt idx="25">
                  <c:v>108.21201443825457</c:v>
                </c:pt>
                <c:pt idx="26">
                  <c:v>109.16631066802391</c:v>
                </c:pt>
                <c:pt idx="27">
                  <c:v>110.11340720103834</c:v>
                </c:pt>
                <c:pt idx="28">
                  <c:v>111.05337473093182</c:v>
                </c:pt>
                <c:pt idx="29">
                  <c:v>111.98628301077824</c:v>
                </c:pt>
                <c:pt idx="30">
                  <c:v>112.91220086932373</c:v>
                </c:pt>
                <c:pt idx="31">
                  <c:v>113.83119622686768</c:v>
                </c:pt>
                <c:pt idx="32">
                  <c:v>114.74333611081258</c:v>
                </c:pt>
                <c:pt idx="33">
                  <c:v>115.64868667088517</c:v>
                </c:pt>
                <c:pt idx="34">
                  <c:v>116.54731319403207</c:v>
                </c:pt>
                <c:pt idx="35">
                  <c:v>117.43928011901225</c:v>
                </c:pt>
                <c:pt idx="36">
                  <c:v>118.32465105067851</c:v>
                </c:pt>
                <c:pt idx="37">
                  <c:v>119.20348877396516</c:v>
                </c:pt>
                <c:pt idx="38">
                  <c:v>120.07585526758595</c:v>
                </c:pt>
                <c:pt idx="39">
                  <c:v>120.94181171744944</c:v>
                </c:pt>
                <c:pt idx="40">
                  <c:v>121.8014185298001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2</c:f>
              <c:strCache>
                <c:ptCount val="41"/>
                <c:pt idx="0">
                  <c:v>17</c:v>
                </c:pt>
                <c:pt idx="1">
                  <c:v>17</c:v>
                </c:pt>
                <c:pt idx="2">
                  <c:v>17</c:v>
                </c:pt>
                <c:pt idx="3">
                  <c:v>18</c:v>
                </c:pt>
                <c:pt idx="4">
                  <c:v>18</c:v>
                </c:pt>
                <c:pt idx="5">
                  <c:v>18</c:v>
                </c:pt>
                <c:pt idx="6">
                  <c:v>18</c:v>
                </c:pt>
                <c:pt idx="7">
                  <c:v>18</c:v>
                </c:pt>
                <c:pt idx="8">
                  <c:v>19</c:v>
                </c:pt>
                <c:pt idx="9">
                  <c:v>19</c:v>
                </c:pt>
                <c:pt idx="10">
                  <c:v>19</c:v>
                </c:pt>
                <c:pt idx="11">
                  <c:v>19</c:v>
                </c:pt>
                <c:pt idx="12">
                  <c:v>19</c:v>
                </c:pt>
                <c:pt idx="13">
                  <c:v>20</c:v>
                </c:pt>
                <c:pt idx="14">
                  <c:v>20</c:v>
                </c:pt>
                <c:pt idx="15">
                  <c:v>20</c:v>
                </c:pt>
                <c:pt idx="16">
                  <c:v>20</c:v>
                </c:pt>
                <c:pt idx="17">
                  <c:v>20</c:v>
                </c:pt>
                <c:pt idx="18">
                  <c:v>21</c:v>
                </c:pt>
                <c:pt idx="19">
                  <c:v>21</c:v>
                </c:pt>
                <c:pt idx="20">
                  <c:v>21</c:v>
                </c:pt>
                <c:pt idx="21">
                  <c:v>21</c:v>
                </c:pt>
                <c:pt idx="22">
                  <c:v>21</c:v>
                </c:pt>
                <c:pt idx="23">
                  <c:v>22</c:v>
                </c:pt>
                <c:pt idx="24">
                  <c:v>22</c:v>
                </c:pt>
                <c:pt idx="25">
                  <c:v>22</c:v>
                </c:pt>
                <c:pt idx="26">
                  <c:v>22</c:v>
                </c:pt>
                <c:pt idx="27">
                  <c:v>22</c:v>
                </c:pt>
                <c:pt idx="28">
                  <c:v>23</c:v>
                </c:pt>
                <c:pt idx="29">
                  <c:v>23</c:v>
                </c:pt>
                <c:pt idx="30">
                  <c:v>23</c:v>
                </c:pt>
                <c:pt idx="31">
                  <c:v>23</c:v>
                </c:pt>
                <c:pt idx="32">
                  <c:v>23</c:v>
                </c:pt>
                <c:pt idx="33">
                  <c:v>24</c:v>
                </c:pt>
                <c:pt idx="34">
                  <c:v>24</c:v>
                </c:pt>
                <c:pt idx="35">
                  <c:v>24</c:v>
                </c:pt>
                <c:pt idx="36">
                  <c:v>24</c:v>
                </c:pt>
                <c:pt idx="37">
                  <c:v>24</c:v>
                </c:pt>
                <c:pt idx="38">
                  <c:v>25</c:v>
                </c:pt>
                <c:pt idx="39">
                  <c:v>25</c:v>
                </c:pt>
                <c:pt idx="40">
                  <c:v>25</c:v>
                </c:pt>
              </c:strCache>
            </c:strRef>
          </c:cat>
          <c:val>
            <c:numRef>
              <c:f>Sheet1!$E$2:$E$42</c:f>
              <c:numCache>
                <c:formatCode>General</c:formatCode>
                <c:ptCount val="41"/>
                <c:pt idx="0">
                  <c:v>0.6471659827182675</c:v>
                </c:pt>
                <c:pt idx="1">
                  <c:v>0.6512758722614443</c:v>
                </c:pt>
                <c:pt idx="2">
                  <c:v>0.6552911184069659</c:v>
                </c:pt>
                <c:pt idx="3">
                  <c:v>0.6592149531433693</c:v>
                </c:pt>
                <c:pt idx="4">
                  <c:v>0.6630504629560494</c:v>
                </c:pt>
                <c:pt idx="5">
                  <c:v>0.6668005969242625</c:v>
                </c:pt>
                <c:pt idx="6">
                  <c:v>0.670468174283379</c:v>
                </c:pt>
                <c:pt idx="7">
                  <c:v>0.6740558914931409</c:v>
                </c:pt>
                <c:pt idx="8">
                  <c:v>0.6775663288491652</c:v>
                </c:pt>
                <c:pt idx="9">
                  <c:v>0.6810019566717632</c:v>
                </c:pt>
                <c:pt idx="10">
                  <c:v>0.6843651411032683</c:v>
                </c:pt>
                <c:pt idx="11">
                  <c:v>0.6876581495424622</c:v>
                </c:pt>
                <c:pt idx="12">
                  <c:v>0.6908831557423334</c:v>
                </c:pt>
                <c:pt idx="13">
                  <c:v>0.6940422445952478</c:v>
                </c:pt>
                <c:pt idx="14">
                  <c:v>0.6971374166276681</c:v>
                </c:pt>
                <c:pt idx="15">
                  <c:v>0.7001705922247871</c:v>
                </c:pt>
                <c:pt idx="16">
                  <c:v>0.7031436156038176</c:v>
                </c:pt>
                <c:pt idx="17">
                  <c:v>0.7060582585532155</c:v>
                </c:pt>
                <c:pt idx="18">
                  <c:v>0.7089162239537676</c:v>
                </c:pt>
                <c:pt idx="19">
                  <c:v>0.7117191490962446</c:v>
                </c:pt>
                <c:pt idx="20">
                  <c:v>0.7144686088092037</c:v>
                </c:pt>
                <c:pt idx="21">
                  <c:v>0.7171661184094945</c:v>
                </c:pt>
                <c:pt idx="22">
                  <c:v>0.7198131364870847</c:v>
                </c:pt>
                <c:pt idx="23">
                  <c:v>0.7224110675349559</c:v>
                </c:pt>
                <c:pt idx="24">
                  <c:v>0.7249612644340376</c:v>
                </c:pt>
                <c:pt idx="25">
                  <c:v>0.7274650308024123</c:v>
                </c:pt>
                <c:pt idx="26">
                  <c:v>0.7299236232173657</c:v>
                </c:pt>
                <c:pt idx="27">
                  <c:v>0.7323382533182385</c:v>
                </c:pt>
                <c:pt idx="28">
                  <c:v>0.7347100897974744</c:v>
                </c:pt>
                <c:pt idx="29">
                  <c:v>0.737040260286737</c:v>
                </c:pt>
                <c:pt idx="30">
                  <c:v>0.7393298531444927</c:v>
                </c:pt>
                <c:pt idx="31">
                  <c:v>0.7415799191510142</c:v>
                </c:pt>
                <c:pt idx="32">
                  <c:v>0.7437914731163456</c:v>
                </c:pt>
                <c:pt idx="33">
                  <c:v>0.7459654954064064</c:v>
                </c:pt>
                <c:pt idx="34">
                  <c:v>0.7481029333920487</c:v>
                </c:pt>
                <c:pt idx="35">
                  <c:v>0.7502047028255735</c:v>
                </c:pt>
                <c:pt idx="36">
                  <c:v>0.7522716891489034</c:v>
                </c:pt>
                <c:pt idx="37">
                  <c:v>0.754304748737341</c:v>
                </c:pt>
                <c:pt idx="38">
                  <c:v>0.7563047100825804</c:v>
                </c:pt>
                <c:pt idx="39">
                  <c:v>0.7582723749184093</c:v>
                </c:pt>
                <c:pt idx="40">
                  <c:v>0.760208519292310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5</c:f>
              <c:strCache>
                <c:ptCount val="14"/>
                <c:pt idx="0">
                  <c:v>5</c:v>
                </c:pt>
                <c:pt idx="1">
                  <c:v>6</c:v>
                </c:pt>
                <c:pt idx="2">
                  <c:v>6</c:v>
                </c:pt>
                <c:pt idx="3">
                  <c:v>6</c:v>
                </c:pt>
                <c:pt idx="4">
                  <c:v>6</c:v>
                </c:pt>
                <c:pt idx="5">
                  <c:v>6</c:v>
                </c:pt>
                <c:pt idx="6">
                  <c:v>7</c:v>
                </c:pt>
                <c:pt idx="7">
                  <c:v>7</c:v>
                </c:pt>
                <c:pt idx="8">
                  <c:v>7</c:v>
                </c:pt>
                <c:pt idx="9">
                  <c:v>7</c:v>
                </c:pt>
                <c:pt idx="10">
                  <c:v>7</c:v>
                </c:pt>
                <c:pt idx="11">
                  <c:v>8</c:v>
                </c:pt>
                <c:pt idx="12">
                  <c:v>8</c:v>
                </c:pt>
                <c:pt idx="13">
                  <c:v>8</c:v>
                </c:pt>
              </c:strCache>
            </c:strRef>
          </c:cat>
          <c:val>
            <c:numRef>
              <c:f>Sheet1!$B$2:$B$15</c:f>
              <c:numCache>
                <c:formatCode>General</c:formatCode>
                <c:ptCount val="14"/>
                <c:pt idx="0">
                  <c:v>111.23783180930519</c:v>
                </c:pt>
                <c:pt idx="1">
                  <c:v>108.70585035906866</c:v>
                </c:pt>
                <c:pt idx="2">
                  <c:v>106.33080649314759</c:v>
                </c:pt>
                <c:pt idx="3">
                  <c:v>104.09737694490416</c:v>
                </c:pt>
                <c:pt idx="4">
                  <c:v>101.99139378866342</c:v>
                </c:pt>
                <c:pt idx="5">
                  <c:v>100.0</c:v>
                </c:pt>
                <c:pt idx="6">
                  <c:v>93.50239532586303</c:v>
                </c:pt>
                <c:pt idx="7">
                  <c:v>87.92716005464143</c:v>
                </c:pt>
                <c:pt idx="8">
                  <c:v>83.09559431190556</c:v>
                </c:pt>
                <c:pt idx="9">
                  <c:v>79.09724338810132</c:v>
                </c:pt>
                <c:pt idx="10">
                  <c:v>75.35247453029524</c:v>
                </c:pt>
                <c:pt idx="11">
                  <c:v>71.84781839832279</c:v>
                </c:pt>
                <c:pt idx="12">
                  <c:v>68.56939388226509</c:v>
                </c:pt>
                <c:pt idx="13">
                  <c:v>65.503111342968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5</c:f>
              <c:strCache>
                <c:ptCount val="14"/>
                <c:pt idx="0">
                  <c:v>5</c:v>
                </c:pt>
                <c:pt idx="1">
                  <c:v>6</c:v>
                </c:pt>
                <c:pt idx="2">
                  <c:v>6</c:v>
                </c:pt>
                <c:pt idx="3">
                  <c:v>6</c:v>
                </c:pt>
                <c:pt idx="4">
                  <c:v>6</c:v>
                </c:pt>
                <c:pt idx="5">
                  <c:v>6</c:v>
                </c:pt>
                <c:pt idx="6">
                  <c:v>7</c:v>
                </c:pt>
                <c:pt idx="7">
                  <c:v>7</c:v>
                </c:pt>
                <c:pt idx="8">
                  <c:v>7</c:v>
                </c:pt>
                <c:pt idx="9">
                  <c:v>7</c:v>
                </c:pt>
                <c:pt idx="10">
                  <c:v>7</c:v>
                </c:pt>
                <c:pt idx="11">
                  <c:v>8</c:v>
                </c:pt>
                <c:pt idx="12">
                  <c:v>8</c:v>
                </c:pt>
                <c:pt idx="13">
                  <c:v>8</c:v>
                </c:pt>
              </c:strCache>
            </c:strRef>
          </c:cat>
          <c:val>
            <c:numRef>
              <c:f>Sheet1!$C$2:$C$15</c:f>
              <c:numCache>
                <c:formatCode>General</c:formatCode>
                <c:ptCount val="14"/>
                <c:pt idx="0">
                  <c:v>94.38098480158908</c:v>
                </c:pt>
                <c:pt idx="1">
                  <c:v>95.5320594695196</c:v>
                </c:pt>
                <c:pt idx="2">
                  <c:v>96.66974479336969</c:v>
                </c:pt>
                <c:pt idx="3">
                  <c:v>97.79413964905999</c:v>
                </c:pt>
                <c:pt idx="4">
                  <c:v>98.90458542372235</c:v>
                </c:pt>
                <c:pt idx="5">
                  <c:v>100.0</c:v>
                </c:pt>
                <c:pt idx="6">
                  <c:v>96.34027839466697</c:v>
                </c:pt>
                <c:pt idx="7">
                  <c:v>93.26483258440568</c:v>
                </c:pt>
                <c:pt idx="8">
                  <c:v>90.6625221381897</c:v>
                </c:pt>
                <c:pt idx="9">
                  <c:v>88.69408344793807</c:v>
                </c:pt>
                <c:pt idx="10">
                  <c:v>86.7768968983866</c:v>
                </c:pt>
                <c:pt idx="11">
                  <c:v>84.91785062434059</c:v>
                </c:pt>
                <c:pt idx="12">
                  <c:v>83.12172474819415</c:v>
                </c:pt>
                <c:pt idx="13">
                  <c:v>81.3913835888386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5</c:f>
              <c:strCache>
                <c:ptCount val="14"/>
                <c:pt idx="0">
                  <c:v>5</c:v>
                </c:pt>
                <c:pt idx="1">
                  <c:v>6</c:v>
                </c:pt>
                <c:pt idx="2">
                  <c:v>6</c:v>
                </c:pt>
                <c:pt idx="3">
                  <c:v>6</c:v>
                </c:pt>
                <c:pt idx="4">
                  <c:v>6</c:v>
                </c:pt>
                <c:pt idx="5">
                  <c:v>6</c:v>
                </c:pt>
                <c:pt idx="6">
                  <c:v>7</c:v>
                </c:pt>
                <c:pt idx="7">
                  <c:v>7</c:v>
                </c:pt>
                <c:pt idx="8">
                  <c:v>7</c:v>
                </c:pt>
                <c:pt idx="9">
                  <c:v>7</c:v>
                </c:pt>
                <c:pt idx="10">
                  <c:v>7</c:v>
                </c:pt>
                <c:pt idx="11">
                  <c:v>8</c:v>
                </c:pt>
                <c:pt idx="12">
                  <c:v>8</c:v>
                </c:pt>
                <c:pt idx="13">
                  <c:v>8</c:v>
                </c:pt>
              </c:strCache>
            </c:strRef>
          </c:cat>
          <c:val>
            <c:numRef>
              <c:f>Sheet1!$D$2:$D$15</c:f>
              <c:numCache>
                <c:formatCode>General</c:formatCode>
                <c:ptCount val="14"/>
                <c:pt idx="0">
                  <c:v>83.45495467682804</c:v>
                </c:pt>
                <c:pt idx="1">
                  <c:v>86.98546091972824</c:v>
                </c:pt>
                <c:pt idx="2">
                  <c:v>90.39643047657441</c:v>
                </c:pt>
                <c:pt idx="3">
                  <c:v>93.69758907981387</c:v>
                </c:pt>
                <c:pt idx="4">
                  <c:v>96.89669836695076</c:v>
                </c:pt>
                <c:pt idx="5">
                  <c:v>100.0</c:v>
                </c:pt>
                <c:pt idx="6">
                  <c:v>98.17304652191311</c:v>
                </c:pt>
                <c:pt idx="7">
                  <c:v>96.71147181143134</c:v>
                </c:pt>
                <c:pt idx="8">
                  <c:v>95.54801980133178</c:v>
                </c:pt>
                <c:pt idx="9">
                  <c:v>94.9015715295308</c:v>
                </c:pt>
                <c:pt idx="10">
                  <c:v>94.17258732332591</c:v>
                </c:pt>
                <c:pt idx="11">
                  <c:v>93.38156185588072</c:v>
                </c:pt>
                <c:pt idx="12">
                  <c:v>92.54574275576087</c:v>
                </c:pt>
                <c:pt idx="13">
                  <c:v>91.6793122219129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5</c:f>
              <c:strCache>
                <c:ptCount val="14"/>
                <c:pt idx="0">
                  <c:v>5</c:v>
                </c:pt>
                <c:pt idx="1">
                  <c:v>6</c:v>
                </c:pt>
                <c:pt idx="2">
                  <c:v>6</c:v>
                </c:pt>
                <c:pt idx="3">
                  <c:v>6</c:v>
                </c:pt>
                <c:pt idx="4">
                  <c:v>6</c:v>
                </c:pt>
                <c:pt idx="5">
                  <c:v>6</c:v>
                </c:pt>
                <c:pt idx="6">
                  <c:v>7</c:v>
                </c:pt>
                <c:pt idx="7">
                  <c:v>7</c:v>
                </c:pt>
                <c:pt idx="8">
                  <c:v>7</c:v>
                </c:pt>
                <c:pt idx="9">
                  <c:v>7</c:v>
                </c:pt>
                <c:pt idx="10">
                  <c:v>7</c:v>
                </c:pt>
                <c:pt idx="11">
                  <c:v>8</c:v>
                </c:pt>
                <c:pt idx="12">
                  <c:v>8</c:v>
                </c:pt>
                <c:pt idx="13">
                  <c:v>8</c:v>
                </c:pt>
              </c:strCache>
            </c:strRef>
          </c:cat>
          <c:val>
            <c:numRef>
              <c:f>Sheet1!$E$2:$E$15</c:f>
              <c:numCache>
                <c:formatCode>General</c:formatCode>
                <c:ptCount val="14"/>
                <c:pt idx="0">
                  <c:v>0.5491456920515222</c:v>
                </c:pt>
                <c:pt idx="1">
                  <c:v>0.5650488422437084</c:v>
                </c:pt>
                <c:pt idx="2">
                  <c:v>0.5798683024739058</c:v>
                </c:pt>
                <c:pt idx="3">
                  <c:v>0.5937111920134805</c:v>
                </c:pt>
                <c:pt idx="4">
                  <c:v>0.6066709626031622</c:v>
                </c:pt>
                <c:pt idx="5">
                  <c:v>0.6188295108998187</c:v>
                </c:pt>
                <c:pt idx="6">
                  <c:v>0.6302589108728376</c:v>
                </c:pt>
                <c:pt idx="7">
                  <c:v>0.6410228435985192</c:v>
                </c:pt>
                <c:pt idx="8">
                  <c:v>0.6511777843736671</c:v>
                </c:pt>
                <c:pt idx="9">
                  <c:v>0.660773993881957</c:v>
                </c:pt>
                <c:pt idx="10">
                  <c:v>0.6698563501367907</c:v>
                </c:pt>
                <c:pt idx="11">
                  <c:v>0.6784650502636019</c:v>
                </c:pt>
                <c:pt idx="12">
                  <c:v>0.6866362052759628</c:v>
                </c:pt>
                <c:pt idx="13">
                  <c:v>0.694402346409148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arrys (1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ollar Shave Club (2.9%)</c:v>
                </c:pt>
                <c:pt idx="1">
                  <c:v>Gillette (38.7%)</c:v>
                </c:pt>
                <c:pt idx="2">
                  <c:v>Bic (16.9%)</c:v>
                </c:pt>
                <c:pt idx="3">
                  <c:v>Equate (21.7%)</c:v>
                </c:pt>
                <c:pt idx="4">
                  <c:v>Schick (11.2%)</c:v>
                </c:pt>
                <c:pt idx="5">
                  <c:v>Van Der Hagen (2.0%)</c:v>
                </c:pt>
              </c:strCache>
            </c:strRef>
          </c:cat>
          <c:val>
            <c:numRef>
              <c:f>Sheet1!$B$2:$B$7</c:f>
              <c:numCache>
                <c:formatCode>General</c:formatCode>
                <c:ptCount val="6"/>
                <c:pt idx="0">
                  <c:v>0.1397408567881382</c:v>
                </c:pt>
                <c:pt idx="1">
                  <c:v>0.13875835142579468</c:v>
                </c:pt>
                <c:pt idx="2">
                  <c:v>0.061678595312359884</c:v>
                </c:pt>
                <c:pt idx="3">
                  <c:v>0.05718835505291637</c:v>
                </c:pt>
                <c:pt idx="4">
                  <c:v>0.03104323766583902</c:v>
                </c:pt>
                <c:pt idx="5">
                  <c:v>0.02229209412924366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2</c:f>
              <c:strCache>
                <c:ptCount val="21"/>
                <c:pt idx="0">
                  <c:v>9</c:v>
                </c:pt>
                <c:pt idx="1">
                  <c:v>10</c:v>
                </c:pt>
                <c:pt idx="2">
                  <c:v>10</c:v>
                </c:pt>
                <c:pt idx="3">
                  <c:v>10</c:v>
                </c:pt>
                <c:pt idx="4">
                  <c:v>10</c:v>
                </c:pt>
                <c:pt idx="5">
                  <c:v>10</c:v>
                </c:pt>
                <c:pt idx="6">
                  <c:v>11</c:v>
                </c:pt>
                <c:pt idx="7">
                  <c:v>11</c:v>
                </c:pt>
                <c:pt idx="8">
                  <c:v>11</c:v>
                </c:pt>
                <c:pt idx="9">
                  <c:v>11</c:v>
                </c:pt>
                <c:pt idx="10">
                  <c:v>11</c:v>
                </c:pt>
                <c:pt idx="11">
                  <c:v>12</c:v>
                </c:pt>
                <c:pt idx="12">
                  <c:v>12</c:v>
                </c:pt>
                <c:pt idx="13">
                  <c:v>12</c:v>
                </c:pt>
                <c:pt idx="14">
                  <c:v>12</c:v>
                </c:pt>
                <c:pt idx="15">
                  <c:v>12</c:v>
                </c:pt>
                <c:pt idx="16">
                  <c:v>13</c:v>
                </c:pt>
                <c:pt idx="17">
                  <c:v>13</c:v>
                </c:pt>
                <c:pt idx="18">
                  <c:v>13</c:v>
                </c:pt>
                <c:pt idx="19">
                  <c:v>13</c:v>
                </c:pt>
                <c:pt idx="20">
                  <c:v>13</c:v>
                </c:pt>
              </c:strCache>
            </c:strRef>
          </c:cat>
          <c:val>
            <c:numRef>
              <c:f>Sheet1!$B$2:$B$22</c:f>
              <c:numCache>
                <c:formatCode>General</c:formatCode>
                <c:ptCount val="21"/>
                <c:pt idx="0">
                  <c:v>126.12235848273308</c:v>
                </c:pt>
                <c:pt idx="1">
                  <c:v>124.04455994316407</c:v>
                </c:pt>
                <c:pt idx="2">
                  <c:v>122.03886933662571</c:v>
                </c:pt>
                <c:pt idx="3">
                  <c:v>120.10163011864314</c:v>
                </c:pt>
                <c:pt idx="4">
                  <c:v>114.97339890250547</c:v>
                </c:pt>
                <c:pt idx="5">
                  <c:v>110.50630199614045</c:v>
                </c:pt>
                <c:pt idx="6">
                  <c:v>106.58163163888896</c:v>
                </c:pt>
                <c:pt idx="7">
                  <c:v>103.1047226336965</c:v>
                </c:pt>
                <c:pt idx="8">
                  <c:v>100.0</c:v>
                </c:pt>
                <c:pt idx="9">
                  <c:v>97.96638370495226</c:v>
                </c:pt>
                <c:pt idx="10">
                  <c:v>96.03272279545597</c:v>
                </c:pt>
                <c:pt idx="11">
                  <c:v>94.19185014022077</c:v>
                </c:pt>
                <c:pt idx="12">
                  <c:v>92.43716026490102</c:v>
                </c:pt>
                <c:pt idx="13">
                  <c:v>90.76256904968525</c:v>
                </c:pt>
                <c:pt idx="14">
                  <c:v>89.16247565701016</c:v>
                </c:pt>
                <c:pt idx="15">
                  <c:v>87.63172658111598</c:v>
                </c:pt>
                <c:pt idx="16">
                  <c:v>86.1655817373649</c:v>
                </c:pt>
                <c:pt idx="17">
                  <c:v>83.76791913413636</c:v>
                </c:pt>
                <c:pt idx="18">
                  <c:v>81.50862204244888</c:v>
                </c:pt>
                <c:pt idx="19">
                  <c:v>79.37591997955607</c:v>
                </c:pt>
                <c:pt idx="20">
                  <c:v>77.3592922810589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2</c:f>
              <c:strCache>
                <c:ptCount val="21"/>
                <c:pt idx="0">
                  <c:v>9</c:v>
                </c:pt>
                <c:pt idx="1">
                  <c:v>10</c:v>
                </c:pt>
                <c:pt idx="2">
                  <c:v>10</c:v>
                </c:pt>
                <c:pt idx="3">
                  <c:v>10</c:v>
                </c:pt>
                <c:pt idx="4">
                  <c:v>10</c:v>
                </c:pt>
                <c:pt idx="5">
                  <c:v>10</c:v>
                </c:pt>
                <c:pt idx="6">
                  <c:v>11</c:v>
                </c:pt>
                <c:pt idx="7">
                  <c:v>11</c:v>
                </c:pt>
                <c:pt idx="8">
                  <c:v>11</c:v>
                </c:pt>
                <c:pt idx="9">
                  <c:v>11</c:v>
                </c:pt>
                <c:pt idx="10">
                  <c:v>11</c:v>
                </c:pt>
                <c:pt idx="11">
                  <c:v>12</c:v>
                </c:pt>
                <c:pt idx="12">
                  <c:v>12</c:v>
                </c:pt>
                <c:pt idx="13">
                  <c:v>12</c:v>
                </c:pt>
                <c:pt idx="14">
                  <c:v>12</c:v>
                </c:pt>
                <c:pt idx="15">
                  <c:v>12</c:v>
                </c:pt>
                <c:pt idx="16">
                  <c:v>13</c:v>
                </c:pt>
                <c:pt idx="17">
                  <c:v>13</c:v>
                </c:pt>
                <c:pt idx="18">
                  <c:v>13</c:v>
                </c:pt>
                <c:pt idx="19">
                  <c:v>13</c:v>
                </c:pt>
                <c:pt idx="20">
                  <c:v>13</c:v>
                </c:pt>
              </c:strCache>
            </c:strRef>
          </c:cat>
          <c:val>
            <c:numRef>
              <c:f>Sheet1!$C$2:$C$22</c:f>
              <c:numCache>
                <c:formatCode>General</c:formatCode>
                <c:ptCount val="21"/>
                <c:pt idx="0">
                  <c:v>107.96718365421978</c:v>
                </c:pt>
                <c:pt idx="1">
                  <c:v>108.40853557924952</c:v>
                </c:pt>
                <c:pt idx="2">
                  <c:v>108.83928765233411</c:v>
                </c:pt>
                <c:pt idx="3">
                  <c:v>109.26002631290565</c:v>
                </c:pt>
                <c:pt idx="4">
                  <c:v>106.67345943031576</c:v>
                </c:pt>
                <c:pt idx="5">
                  <c:v>104.52520093647115</c:v>
                </c:pt>
                <c:pt idx="6">
                  <c:v>102.73702843169703</c:v>
                </c:pt>
                <c:pt idx="7">
                  <c:v>101.24566079618744</c:v>
                </c:pt>
                <c:pt idx="8">
                  <c:v>100.0</c:v>
                </c:pt>
                <c:pt idx="9">
                  <c:v>99.72454092978109</c:v>
                </c:pt>
                <c:pt idx="10">
                  <c:v>99.47950101740311</c:v>
                </c:pt>
                <c:pt idx="11">
                  <c:v>99.26270553255665</c:v>
                </c:pt>
                <c:pt idx="12">
                  <c:v>99.07206919317588</c:v>
                </c:pt>
                <c:pt idx="13">
                  <c:v>98.90560231704781</c:v>
                </c:pt>
                <c:pt idx="14">
                  <c:v>98.7614151420806</c:v>
                </c:pt>
                <c:pt idx="15">
                  <c:v>98.63772047057526</c:v>
                </c:pt>
                <c:pt idx="16">
                  <c:v>98.53283480737802</c:v>
                </c:pt>
                <c:pt idx="17">
                  <c:v>97.30108564531746</c:v>
                </c:pt>
                <c:pt idx="18">
                  <c:v>96.14617559570074</c:v>
                </c:pt>
                <c:pt idx="19">
                  <c:v>95.0614770550623</c:v>
                </c:pt>
                <c:pt idx="20">
                  <c:v>94.0410356835523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2</c:f>
              <c:strCache>
                <c:ptCount val="21"/>
                <c:pt idx="0">
                  <c:v>9</c:v>
                </c:pt>
                <c:pt idx="1">
                  <c:v>10</c:v>
                </c:pt>
                <c:pt idx="2">
                  <c:v>10</c:v>
                </c:pt>
                <c:pt idx="3">
                  <c:v>10</c:v>
                </c:pt>
                <c:pt idx="4">
                  <c:v>10</c:v>
                </c:pt>
                <c:pt idx="5">
                  <c:v>10</c:v>
                </c:pt>
                <c:pt idx="6">
                  <c:v>11</c:v>
                </c:pt>
                <c:pt idx="7">
                  <c:v>11</c:v>
                </c:pt>
                <c:pt idx="8">
                  <c:v>11</c:v>
                </c:pt>
                <c:pt idx="9">
                  <c:v>11</c:v>
                </c:pt>
                <c:pt idx="10">
                  <c:v>11</c:v>
                </c:pt>
                <c:pt idx="11">
                  <c:v>12</c:v>
                </c:pt>
                <c:pt idx="12">
                  <c:v>12</c:v>
                </c:pt>
                <c:pt idx="13">
                  <c:v>12</c:v>
                </c:pt>
                <c:pt idx="14">
                  <c:v>12</c:v>
                </c:pt>
                <c:pt idx="15">
                  <c:v>12</c:v>
                </c:pt>
                <c:pt idx="16">
                  <c:v>13</c:v>
                </c:pt>
                <c:pt idx="17">
                  <c:v>13</c:v>
                </c:pt>
                <c:pt idx="18">
                  <c:v>13</c:v>
                </c:pt>
                <c:pt idx="19">
                  <c:v>13</c:v>
                </c:pt>
                <c:pt idx="20">
                  <c:v>13</c:v>
                </c:pt>
              </c:strCache>
            </c:strRef>
          </c:cat>
          <c:val>
            <c:numRef>
              <c:f>Sheet1!$D$2:$D$22</c:f>
              <c:numCache>
                <c:formatCode>General</c:formatCode>
                <c:ptCount val="21"/>
                <c:pt idx="0">
                  <c:v>94.57001240402958</c:v>
                </c:pt>
                <c:pt idx="1">
                  <c:v>96.89108917760862</c:v>
                </c:pt>
                <c:pt idx="2">
                  <c:v>99.14079230242919</c:v>
                </c:pt>
                <c:pt idx="3">
                  <c:v>101.32280174659694</c:v>
                </c:pt>
                <c:pt idx="4">
                  <c:v>100.59180742396778</c:v>
                </c:pt>
                <c:pt idx="5">
                  <c:v>100.13918769220444</c:v>
                </c:pt>
                <c:pt idx="6">
                  <c:v>99.91568325440097</c:v>
                </c:pt>
                <c:pt idx="7">
                  <c:v>99.88047681992542</c:v>
                </c:pt>
                <c:pt idx="8">
                  <c:v>100.0</c:v>
                </c:pt>
                <c:pt idx="9">
                  <c:v>101.0299456299784</c:v>
                </c:pt>
                <c:pt idx="10">
                  <c:v>102.03890944819211</c:v>
                </c:pt>
                <c:pt idx="11">
                  <c:v>103.02842922452469</c:v>
                </c:pt>
                <c:pt idx="12">
                  <c:v>103.99977813177995</c:v>
                </c:pt>
                <c:pt idx="13">
                  <c:v>104.95400596112682</c:v>
                </c:pt>
                <c:pt idx="14">
                  <c:v>105.89197542418927</c:v>
                </c:pt>
                <c:pt idx="15">
                  <c:v>106.81439389797151</c:v>
                </c:pt>
                <c:pt idx="16">
                  <c:v>107.72184097447983</c:v>
                </c:pt>
                <c:pt idx="17">
                  <c:v>107.34390286482302</c:v>
                </c:pt>
                <c:pt idx="18">
                  <c:v>106.99764201103821</c:v>
                </c:pt>
                <c:pt idx="19">
                  <c:v>106.68021975244919</c:v>
                </c:pt>
                <c:pt idx="20">
                  <c:v>106.3890439264388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2</c:f>
              <c:strCache>
                <c:ptCount val="21"/>
                <c:pt idx="0">
                  <c:v>9</c:v>
                </c:pt>
                <c:pt idx="1">
                  <c:v>10</c:v>
                </c:pt>
                <c:pt idx="2">
                  <c:v>10</c:v>
                </c:pt>
                <c:pt idx="3">
                  <c:v>10</c:v>
                </c:pt>
                <c:pt idx="4">
                  <c:v>10</c:v>
                </c:pt>
                <c:pt idx="5">
                  <c:v>10</c:v>
                </c:pt>
                <c:pt idx="6">
                  <c:v>11</c:v>
                </c:pt>
                <c:pt idx="7">
                  <c:v>11</c:v>
                </c:pt>
                <c:pt idx="8">
                  <c:v>11</c:v>
                </c:pt>
                <c:pt idx="9">
                  <c:v>11</c:v>
                </c:pt>
                <c:pt idx="10">
                  <c:v>11</c:v>
                </c:pt>
                <c:pt idx="11">
                  <c:v>12</c:v>
                </c:pt>
                <c:pt idx="12">
                  <c:v>12</c:v>
                </c:pt>
                <c:pt idx="13">
                  <c:v>12</c:v>
                </c:pt>
                <c:pt idx="14">
                  <c:v>12</c:v>
                </c:pt>
                <c:pt idx="15">
                  <c:v>12</c:v>
                </c:pt>
                <c:pt idx="16">
                  <c:v>13</c:v>
                </c:pt>
                <c:pt idx="17">
                  <c:v>13</c:v>
                </c:pt>
                <c:pt idx="18">
                  <c:v>13</c:v>
                </c:pt>
                <c:pt idx="19">
                  <c:v>13</c:v>
                </c:pt>
                <c:pt idx="20">
                  <c:v>13</c:v>
                </c:pt>
              </c:strCache>
            </c:strRef>
          </c:cat>
          <c:val>
            <c:numRef>
              <c:f>Sheet1!$E$2:$E$22</c:f>
              <c:numCache>
                <c:formatCode>General</c:formatCode>
                <c:ptCount val="21"/>
                <c:pt idx="0">
                  <c:v>0.511802238394369</c:v>
                </c:pt>
                <c:pt idx="1">
                  <c:v>0.5220049084383738</c:v>
                </c:pt>
                <c:pt idx="2">
                  <c:v>0.5317898642533508</c:v>
                </c:pt>
                <c:pt idx="3">
                  <c:v>0.5411822441078473</c:v>
                </c:pt>
                <c:pt idx="4">
                  <c:v>0.5502052088254904</c:v>
                </c:pt>
                <c:pt idx="5">
                  <c:v>0.5588801324739862</c:v>
                </c:pt>
                <c:pt idx="6">
                  <c:v>0.567226771405415</c:v>
                </c:pt>
                <c:pt idx="7">
                  <c:v>0.5752634144619535</c:v>
                </c:pt>
                <c:pt idx="8">
                  <c:v>0.5830070167507054</c:v>
                </c:pt>
                <c:pt idx="9">
                  <c:v>0.5904733190470222</c:v>
                </c:pt>
                <c:pt idx="10">
                  <c:v>0.5976769545958871</c:v>
                </c:pt>
                <c:pt idx="11">
                  <c:v>0.6046315448362349</c:v>
                </c:pt>
                <c:pt idx="12">
                  <c:v>0.6113497853657806</c:v>
                </c:pt>
                <c:pt idx="13">
                  <c:v>0.6178435232878228</c:v>
                </c:pt>
                <c:pt idx="14">
                  <c:v>0.6241238269314082</c:v>
                </c:pt>
                <c:pt idx="15">
                  <c:v>0.6302010488080223</c:v>
                </c:pt>
                <c:pt idx="16">
                  <c:v>0.6360848825580936</c:v>
                </c:pt>
                <c:pt idx="17">
                  <c:v>0.6417844145462207</c:v>
                </c:pt>
                <c:pt idx="18">
                  <c:v>0.6473081706827477</c:v>
                </c:pt>
                <c:pt idx="19">
                  <c:v>0.6526641589791374</c:v>
                </c:pt>
                <c:pt idx="20">
                  <c:v>0.657859908283862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B$2:$B$32</c:f>
              <c:numCache>
                <c:formatCode>General</c:formatCode>
                <c:ptCount val="31"/>
                <c:pt idx="0">
                  <c:v>136.08480434308785</c:v>
                </c:pt>
                <c:pt idx="1">
                  <c:v>132.11052548143945</c:v>
                </c:pt>
                <c:pt idx="2">
                  <c:v>128.43218668244947</c:v>
                </c:pt>
                <c:pt idx="3">
                  <c:v>125.01568397066998</c:v>
                </c:pt>
                <c:pt idx="4">
                  <c:v>121.83180265514204</c:v>
                </c:pt>
                <c:pt idx="5">
                  <c:v>118.69783268351131</c:v>
                </c:pt>
                <c:pt idx="6">
                  <c:v>115.58756197107456</c:v>
                </c:pt>
                <c:pt idx="7">
                  <c:v>112.64251470924007</c:v>
                </c:pt>
                <c:pt idx="8">
                  <c:v>109.85035696336914</c:v>
                </c:pt>
                <c:pt idx="9">
                  <c:v>107.19984363464393</c:v>
                </c:pt>
                <c:pt idx="10">
                  <c:v>104.68071812090871</c:v>
                </c:pt>
                <c:pt idx="11">
                  <c:v>102.28361990818351</c:v>
                </c:pt>
                <c:pt idx="12">
                  <c:v>100.0</c:v>
                </c:pt>
                <c:pt idx="13">
                  <c:v>96.66624178015401</c:v>
                </c:pt>
                <c:pt idx="14">
                  <c:v>93.54213231917751</c:v>
                </c:pt>
                <c:pt idx="15">
                  <c:v>90.60885953068065</c:v>
                </c:pt>
                <c:pt idx="16">
                  <c:v>87.8497217468452</c:v>
                </c:pt>
                <c:pt idx="17">
                  <c:v>85.24984031042626</c:v>
                </c:pt>
                <c:pt idx="18">
                  <c:v>82.75046385093137</c:v>
                </c:pt>
                <c:pt idx="19">
                  <c:v>80.37771431821596</c:v>
                </c:pt>
                <c:pt idx="20">
                  <c:v>78.12472274655529</c:v>
                </c:pt>
                <c:pt idx="21">
                  <c:v>75.98483069175572</c:v>
                </c:pt>
                <c:pt idx="22">
                  <c:v>73.95160567832822</c:v>
                </c:pt>
                <c:pt idx="23">
                  <c:v>72.01885711611745</c:v>
                </c:pt>
                <c:pt idx="24">
                  <c:v>70.180650822641</c:v>
                </c:pt>
                <c:pt idx="25">
                  <c:v>68.43132089341174</c:v>
                </c:pt>
                <c:pt idx="26">
                  <c:v>66.76547819983973</c:v>
                </c:pt>
                <c:pt idx="27">
                  <c:v>65.1780152318076</c:v>
                </c:pt>
                <c:pt idx="28">
                  <c:v>63.66410733078901</c:v>
                </c:pt>
                <c:pt idx="29">
                  <c:v>62.21921058561218</c:v>
                </c:pt>
                <c:pt idx="30">
                  <c:v>60.8390568013982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C$2:$C$32</c:f>
              <c:numCache>
                <c:formatCode>General</c:formatCode>
                <c:ptCount val="31"/>
                <c:pt idx="0">
                  <c:v>114.33620286278942</c:v>
                </c:pt>
                <c:pt idx="1">
                  <c:v>112.75716150975956</c:v>
                </c:pt>
                <c:pt idx="2">
                  <c:v>111.32815048777395</c:v>
                </c:pt>
                <c:pt idx="3">
                  <c:v>110.0310895766634</c:v>
                </c:pt>
                <c:pt idx="4">
                  <c:v>108.85042971842587</c:v>
                </c:pt>
                <c:pt idx="5">
                  <c:v>107.63081390899029</c:v>
                </c:pt>
                <c:pt idx="6">
                  <c:v>106.3503241408492</c:v>
                </c:pt>
                <c:pt idx="7">
                  <c:v>105.14111932348986</c:v>
                </c:pt>
                <c:pt idx="8">
                  <c:v>103.99813004749976</c:v>
                </c:pt>
                <c:pt idx="9">
                  <c:v>102.91667524351402</c:v>
                </c:pt>
                <c:pt idx="10">
                  <c:v>101.89243686221855</c:v>
                </c:pt>
                <c:pt idx="11">
                  <c:v>100.92143441388271</c:v>
                </c:pt>
                <c:pt idx="12">
                  <c:v>100.0</c:v>
                </c:pt>
                <c:pt idx="13">
                  <c:v>97.9619370120268</c:v>
                </c:pt>
                <c:pt idx="14">
                  <c:v>96.04945469984895</c:v>
                </c:pt>
                <c:pt idx="15">
                  <c:v>94.25147447043517</c:v>
                </c:pt>
                <c:pt idx="16">
                  <c:v>92.55812236096928</c:v>
                </c:pt>
                <c:pt idx="17">
                  <c:v>90.96056577913588</c:v>
                </c:pt>
                <c:pt idx="18">
                  <c:v>89.40150700409555</c:v>
                </c:pt>
                <c:pt idx="19">
                  <c:v>87.91399119204429</c:v>
                </c:pt>
                <c:pt idx="20">
                  <c:v>86.49549085121608</c:v>
                </c:pt>
                <c:pt idx="21">
                  <c:v>85.14334954196818</c:v>
                </c:pt>
                <c:pt idx="22">
                  <c:v>83.85481296230924</c:v>
                </c:pt>
                <c:pt idx="23">
                  <c:v>82.62706185477131</c:v>
                </c:pt>
                <c:pt idx="24">
                  <c:v>81.45724462374959</c:v>
                </c:pt>
                <c:pt idx="25">
                  <c:v>80.3425080601561</c:v>
                </c:pt>
                <c:pt idx="26">
                  <c:v>79.28002507001712</c:v>
                </c:pt>
                <c:pt idx="27">
                  <c:v>78.2670187491044</c:v>
                </c:pt>
                <c:pt idx="28">
                  <c:v>77.30078251271179</c:v>
                </c:pt>
                <c:pt idx="29">
                  <c:v>76.37869627120388</c:v>
                </c:pt>
                <c:pt idx="30">
                  <c:v>75.498238842401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D$2:$D$32</c:f>
              <c:numCache>
                <c:formatCode>General</c:formatCode>
                <c:ptCount val="31"/>
                <c:pt idx="0">
                  <c:v>93.70588197222578</c:v>
                </c:pt>
                <c:pt idx="1">
                  <c:v>94.3976944771764</c:v>
                </c:pt>
                <c:pt idx="2">
                  <c:v>95.10237140286887</c:v>
                </c:pt>
                <c:pt idx="3">
                  <c:v>95.81681423807173</c:v>
                </c:pt>
                <c:pt idx="4">
                  <c:v>96.53825852066949</c:v>
                </c:pt>
                <c:pt idx="5">
                  <c:v>97.13529561446038</c:v>
                </c:pt>
                <c:pt idx="6">
                  <c:v>97.58968065193883</c:v>
                </c:pt>
                <c:pt idx="7">
                  <c:v>98.02641922388831</c:v>
                </c:pt>
                <c:pt idx="8">
                  <c:v>98.44732100934407</c:v>
                </c:pt>
                <c:pt idx="9">
                  <c:v>98.85391942677352</c:v>
                </c:pt>
                <c:pt idx="10">
                  <c:v>99.2475177862756</c:v>
                </c:pt>
                <c:pt idx="11">
                  <c:v>99.6292275430549</c:v>
                </c:pt>
                <c:pt idx="12">
                  <c:v>100.0</c:v>
                </c:pt>
                <c:pt idx="13">
                  <c:v>99.17485590993591</c:v>
                </c:pt>
                <c:pt idx="14">
                  <c:v>98.39721120803098</c:v>
                </c:pt>
                <c:pt idx="15">
                  <c:v>97.6631111840874</c:v>
                </c:pt>
                <c:pt idx="16">
                  <c:v>96.9689778268634</c:v>
                </c:pt>
                <c:pt idx="17">
                  <c:v>96.31155896349864</c:v>
                </c:pt>
                <c:pt idx="18">
                  <c:v>95.63535390393892</c:v>
                </c:pt>
                <c:pt idx="19">
                  <c:v>94.97905458980537</c:v>
                </c:pt>
                <c:pt idx="20">
                  <c:v>94.34422438503023</c:v>
                </c:pt>
                <c:pt idx="21">
                  <c:v>93.73197331061796</c:v>
                </c:pt>
                <c:pt idx="22">
                  <c:v>93.14300481709162</c:v>
                </c:pt>
                <c:pt idx="23">
                  <c:v>92.57766556565225</c:v>
                </c:pt>
                <c:pt idx="24">
                  <c:v>92.03599585918872</c:v>
                </c:pt>
                <c:pt idx="25">
                  <c:v>91.5177787878083</c:v>
                </c:pt>
                <c:pt idx="26">
                  <c:v>91.02258662498703</c:v>
                </c:pt>
                <c:pt idx="27">
                  <c:v>90.54982346867571</c:v>
                </c:pt>
                <c:pt idx="28">
                  <c:v>90.0987635282552</c:v>
                </c:pt>
                <c:pt idx="29">
                  <c:v>89.66858479379405</c:v>
                </c:pt>
                <c:pt idx="30">
                  <c:v>89.2583980836478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E$2:$E$32</c:f>
              <c:numCache>
                <c:formatCode>General</c:formatCode>
                <c:ptCount val="31"/>
                <c:pt idx="0">
                  <c:v>0.42217538450262804</c:v>
                </c:pt>
                <c:pt idx="1">
                  <c:v>0.4312251044007859</c:v>
                </c:pt>
                <c:pt idx="2">
                  <c:v>0.4399957273090237</c:v>
                </c:pt>
                <c:pt idx="3">
                  <c:v>0.44849996835216677</c:v>
                </c:pt>
                <c:pt idx="4">
                  <c:v>0.4567497818397934</c:v>
                </c:pt>
                <c:pt idx="5">
                  <c:v>0.46475641733220624</c:v>
                </c:pt>
                <c:pt idx="6">
                  <c:v>0.4725304708204819</c:v>
                </c:pt>
                <c:pt idx="7">
                  <c:v>0.4800819315102388</c:v>
                </c:pt>
                <c:pt idx="8">
                  <c:v>0.48742022464347473</c:v>
                </c:pt>
                <c:pt idx="9">
                  <c:v>0.49455425074447024</c:v>
                </c:pt>
                <c:pt idx="10">
                  <c:v>0.5014924216333587</c:v>
                </c:pt>
                <c:pt idx="11">
                  <c:v>0.5082426935137466</c:v>
                </c:pt>
                <c:pt idx="12">
                  <c:v>0.5148125974080185</c:v>
                </c:pt>
                <c:pt idx="13">
                  <c:v>0.5212092671851046</c:v>
                </c:pt>
                <c:pt idx="14">
                  <c:v>0.5274394654000023</c:v>
                </c:pt>
                <c:pt idx="15">
                  <c:v>0.5335096071418135</c:v>
                </c:pt>
                <c:pt idx="16">
                  <c:v>0.5394257820670918</c:v>
                </c:pt>
                <c:pt idx="17">
                  <c:v>0.5451937747775853</c:v>
                </c:pt>
                <c:pt idx="18">
                  <c:v>0.5508190836857167</c:v>
                </c:pt>
                <c:pt idx="19">
                  <c:v>0.5563069384971314</c:v>
                </c:pt>
                <c:pt idx="20">
                  <c:v>0.5616623164271598</c:v>
                </c:pt>
                <c:pt idx="21">
                  <c:v>0.5668899572568894</c:v>
                </c:pt>
                <c:pt idx="22">
                  <c:v>0.5719943773245749</c:v>
                </c:pt>
                <c:pt idx="23">
                  <c:v>0.5769798825391984</c:v>
                </c:pt>
                <c:pt idx="24">
                  <c:v>0.5818505804949936</c:v>
                </c:pt>
                <c:pt idx="25">
                  <c:v>0.5866103917585678</c:v>
                </c:pt>
                <c:pt idx="26">
                  <c:v>0.5912630603938119</c:v>
                </c:pt>
                <c:pt idx="27">
                  <c:v>0.5958121637839754</c:v>
                </c:pt>
                <c:pt idx="28">
                  <c:v>0.6002611218050654</c:v>
                </c:pt>
                <c:pt idx="29">
                  <c:v>0.604613205400002</c:v>
                </c:pt>
                <c:pt idx="30">
                  <c:v>0.608871544598709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B$2:$B$21</c:f>
              <c:numCache>
                <c:formatCode>General</c:formatCode>
                <c:ptCount val="20"/>
                <c:pt idx="0">
                  <c:v>115.52052394798173</c:v>
                </c:pt>
                <c:pt idx="1">
                  <c:v>111.82104193519055</c:v>
                </c:pt>
                <c:pt idx="2">
                  <c:v>108.44317551589893</c:v>
                </c:pt>
                <c:pt idx="3">
                  <c:v>106.63787084803957</c:v>
                </c:pt>
                <c:pt idx="4">
                  <c:v>104.89391717145264</c:v>
                </c:pt>
                <c:pt idx="5">
                  <c:v>103.20819940011387</c:v>
                </c:pt>
                <c:pt idx="6">
                  <c:v>101.577803187725</c:v>
                </c:pt>
                <c:pt idx="7">
                  <c:v>100.0</c:v>
                </c:pt>
                <c:pt idx="8">
                  <c:v>95.5678982870838</c:v>
                </c:pt>
                <c:pt idx="9">
                  <c:v>91.6946791210632</c:v>
                </c:pt>
                <c:pt idx="10">
                  <c:v>88.27662358391176</c:v>
                </c:pt>
                <c:pt idx="11">
                  <c:v>85.23256473286544</c:v>
                </c:pt>
                <c:pt idx="12">
                  <c:v>82.49859292239603</c:v>
                </c:pt>
                <c:pt idx="13">
                  <c:v>80.68483902541617</c:v>
                </c:pt>
                <c:pt idx="14">
                  <c:v>78.96119971202589</c:v>
                </c:pt>
                <c:pt idx="15">
                  <c:v>77.32086175711706</c:v>
                </c:pt>
                <c:pt idx="16">
                  <c:v>75.75765061216782</c:v>
                </c:pt>
                <c:pt idx="17">
                  <c:v>74.26596368308587</c:v>
                </c:pt>
                <c:pt idx="18">
                  <c:v>72.84071091300672</c:v>
                </c:pt>
                <c:pt idx="19">
                  <c:v>71.477261876558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C$2:$C$21</c:f>
              <c:numCache>
                <c:formatCode>General</c:formatCode>
                <c:ptCount val="20"/>
                <c:pt idx="0">
                  <c:v>99.39070823016279</c:v>
                </c:pt>
                <c:pt idx="1">
                  <c:v>98.44140999374176</c:v>
                </c:pt>
                <c:pt idx="2">
                  <c:v>97.63364817278003</c:v>
                </c:pt>
                <c:pt idx="3">
                  <c:v>98.13457143423612</c:v>
                </c:pt>
                <c:pt idx="4">
                  <c:v>98.62099977252961</c:v>
                </c:pt>
                <c:pt idx="5">
                  <c:v>99.09362766610927</c:v>
                </c:pt>
                <c:pt idx="6">
                  <c:v>99.55309654274896</c:v>
                </c:pt>
                <c:pt idx="7">
                  <c:v>100.0</c:v>
                </c:pt>
                <c:pt idx="8">
                  <c:v>97.48069789001258</c:v>
                </c:pt>
                <c:pt idx="9">
                  <c:v>95.3646676862971</c:v>
                </c:pt>
                <c:pt idx="10">
                  <c:v>93.57566467586756</c:v>
                </c:pt>
                <c:pt idx="11">
                  <c:v>92.05346049343946</c:v>
                </c:pt>
                <c:pt idx="12">
                  <c:v>90.75028594267896</c:v>
                </c:pt>
                <c:pt idx="13">
                  <c:v>90.36570514159644</c:v>
                </c:pt>
                <c:pt idx="14">
                  <c:v>90.01142888304727</c:v>
                </c:pt>
                <c:pt idx="15">
                  <c:v>89.68494869817839</c:v>
                </c:pt>
                <c:pt idx="16">
                  <c:v>89.3839663301553</c:v>
                </c:pt>
                <c:pt idx="17">
                  <c:v>89.10637729355571</c:v>
                </c:pt>
                <c:pt idx="18">
                  <c:v>88.85025537613595</c:v>
                </c:pt>
                <c:pt idx="19">
                  <c:v>88.6138381159170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D$2:$D$21</c:f>
              <c:numCache>
                <c:formatCode>General</c:formatCode>
                <c:ptCount val="20"/>
                <c:pt idx="0">
                  <c:v>87.52977512605538</c:v>
                </c:pt>
                <c:pt idx="1">
                  <c:v>88.59730453576474</c:v>
                </c:pt>
                <c:pt idx="2">
                  <c:v>89.67467581199459</c:v>
                </c:pt>
                <c:pt idx="3">
                  <c:v>91.87302953523243</c:v>
                </c:pt>
                <c:pt idx="4">
                  <c:v>94.00138413371356</c:v>
                </c:pt>
                <c:pt idx="5">
                  <c:v>96.06321106620962</c:v>
                </c:pt>
                <c:pt idx="6">
                  <c:v>98.06174427487517</c:v>
                </c:pt>
                <c:pt idx="7">
                  <c:v>100.0</c:v>
                </c:pt>
                <c:pt idx="8">
                  <c:v>98.87592769911605</c:v>
                </c:pt>
                <c:pt idx="9">
                  <c:v>98.0425993096635</c:v>
                </c:pt>
                <c:pt idx="10">
                  <c:v>97.44356161785055</c:v>
                </c:pt>
                <c:pt idx="11">
                  <c:v>97.03367519162182</c:v>
                </c:pt>
                <c:pt idx="12">
                  <c:v>96.77680646114936</c:v>
                </c:pt>
                <c:pt idx="13">
                  <c:v>97.44200280436951</c:v>
                </c:pt>
                <c:pt idx="14">
                  <c:v>98.09358443712026</c:v>
                </c:pt>
                <c:pt idx="15">
                  <c:v>98.7322092443557</c:v>
                </c:pt>
                <c:pt idx="16">
                  <c:v>99.35842941059101</c:v>
                </c:pt>
                <c:pt idx="17">
                  <c:v>99.9727121394109</c:v>
                </c:pt>
                <c:pt idx="18">
                  <c:v>100.57545660205673</c:v>
                </c:pt>
                <c:pt idx="19">
                  <c:v>101.1670077620109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E$2:$E$21</c:f>
              <c:numCache>
                <c:formatCode>General</c:formatCode>
                <c:ptCount val="20"/>
                <c:pt idx="0">
                  <c:v>0.5108442500200775</c:v>
                </c:pt>
                <c:pt idx="1">
                  <c:v>0.5219994552647735</c:v>
                </c:pt>
                <c:pt idx="2">
                  <c:v>0.532657215459539</c:v>
                </c:pt>
                <c:pt idx="3">
                  <c:v>0.542850078808295</c:v>
                </c:pt>
                <c:pt idx="4">
                  <c:v>0.552607814586133</c:v>
                </c:pt>
                <c:pt idx="5">
                  <c:v>0.5619577035185019</c:v>
                </c:pt>
                <c:pt idx="6">
                  <c:v>0.570924792494582</c:v>
                </c:pt>
                <c:pt idx="7">
                  <c:v>0.5795321186230759</c:v>
                </c:pt>
                <c:pt idx="8">
                  <c:v>0.5878009068507437</c:v>
                </c:pt>
                <c:pt idx="9">
                  <c:v>0.5957507447128317</c:v>
                </c:pt>
                <c:pt idx="10">
                  <c:v>0.6033997372442823</c:v>
                </c:pt>
                <c:pt idx="11">
                  <c:v>0.6107646446306466</c:v>
                </c:pt>
                <c:pt idx="12">
                  <c:v>0.6178610048014646</c:v>
                </c:pt>
                <c:pt idx="13">
                  <c:v>0.624703242853363</c:v>
                </c:pt>
                <c:pt idx="14">
                  <c:v>0.6313047689245439</c:v>
                </c:pt>
                <c:pt idx="15">
                  <c:v>0.6376780659180695</c:v>
                </c:pt>
                <c:pt idx="16">
                  <c:v>0.6438347682813989</c:v>
                </c:pt>
                <c:pt idx="17">
                  <c:v>0.6497857328882259</c:v>
                </c:pt>
                <c:pt idx="18">
                  <c:v>0.6555411029311474</c:v>
                </c:pt>
                <c:pt idx="19">
                  <c:v>0.661110365616173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B$2:$B$21</c:f>
              <c:numCache>
                <c:formatCode>General</c:formatCode>
                <c:ptCount val="20"/>
                <c:pt idx="0">
                  <c:v>112.14118592908744</c:v>
                </c:pt>
                <c:pt idx="1">
                  <c:v>109.47073418985713</c:v>
                </c:pt>
                <c:pt idx="2">
                  <c:v>106.99598377215331</c:v>
                </c:pt>
                <c:pt idx="3">
                  <c:v>105.51705516882946</c:v>
                </c:pt>
                <c:pt idx="4">
                  <c:v>104.07983206153165</c:v>
                </c:pt>
                <c:pt idx="5">
                  <c:v>102.68241766713022</c:v>
                </c:pt>
                <c:pt idx="6">
                  <c:v>101.32303132224129</c:v>
                </c:pt>
                <c:pt idx="7">
                  <c:v>100.0</c:v>
                </c:pt>
                <c:pt idx="8">
                  <c:v>96.25877807239819</c:v>
                </c:pt>
                <c:pt idx="9">
                  <c:v>92.92807384252218</c:v>
                </c:pt>
                <c:pt idx="10">
                  <c:v>89.93813287611738</c:v>
                </c:pt>
                <c:pt idx="11">
                  <c:v>87.2331204206825</c:v>
                </c:pt>
                <c:pt idx="12">
                  <c:v>84.76811533145465</c:v>
                </c:pt>
                <c:pt idx="13">
                  <c:v>83.22459995485555</c:v>
                </c:pt>
                <c:pt idx="14">
                  <c:v>81.74838841316887</c:v>
                </c:pt>
                <c:pt idx="15">
                  <c:v>80.3347925806262</c:v>
                </c:pt>
                <c:pt idx="16">
                  <c:v>78.97952529994153</c:v>
                </c:pt>
                <c:pt idx="17">
                  <c:v>77.67866484787999</c:v>
                </c:pt>
                <c:pt idx="18">
                  <c:v>76.4286222378484</c:v>
                </c:pt>
                <c:pt idx="19">
                  <c:v>75.2261111982484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C$2:$C$21</c:f>
              <c:numCache>
                <c:formatCode>General</c:formatCode>
                <c:ptCount val="20"/>
                <c:pt idx="0">
                  <c:v>96.52456818829711</c:v>
                </c:pt>
                <c:pt idx="1">
                  <c:v>96.40740758625779</c:v>
                </c:pt>
                <c:pt idx="2">
                  <c:v>96.35968242709875</c:v>
                </c:pt>
                <c:pt idx="3">
                  <c:v>97.12631861254906</c:v>
                </c:pt>
                <c:pt idx="4">
                  <c:v>97.87299414463237</c:v>
                </c:pt>
                <c:pt idx="5">
                  <c:v>98.60040252024693</c:v>
                </c:pt>
                <c:pt idx="6">
                  <c:v>99.3091982330645</c:v>
                </c:pt>
                <c:pt idx="7">
                  <c:v>100.0</c:v>
                </c:pt>
                <c:pt idx="8">
                  <c:v>98.18094180981906</c:v>
                </c:pt>
                <c:pt idx="9">
                  <c:v>96.63886967796424</c:v>
                </c:pt>
                <c:pt idx="10">
                  <c:v>95.32455065380682</c:v>
                </c:pt>
                <c:pt idx="11">
                  <c:v>94.1981896504214</c:v>
                </c:pt>
                <c:pt idx="12">
                  <c:v>93.22751803224513</c:v>
                </c:pt>
                <c:pt idx="13">
                  <c:v>93.18642327576029</c:v>
                </c:pt>
                <c:pt idx="14">
                  <c:v>93.16050770245354</c:v>
                </c:pt>
                <c:pt idx="15">
                  <c:v>93.14835701281628</c:v>
                </c:pt>
                <c:pt idx="16">
                  <c:v>93.14865681460567</c:v>
                </c:pt>
                <c:pt idx="17">
                  <c:v>93.16018983369796</c:v>
                </c:pt>
                <c:pt idx="18">
                  <c:v>93.18183235222884</c:v>
                </c:pt>
                <c:pt idx="19">
                  <c:v>93.2125500681301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D$2:$D$21</c:f>
              <c:numCache>
                <c:formatCode>General</c:formatCode>
                <c:ptCount val="20"/>
                <c:pt idx="0">
                  <c:v>87.26436195676517</c:v>
                </c:pt>
                <c:pt idx="1">
                  <c:v>88.65551302532036</c:v>
                </c:pt>
                <c:pt idx="2">
                  <c:v>90.04209892478117</c:v>
                </c:pt>
                <c:pt idx="3">
                  <c:v>92.14142038556021</c:v>
                </c:pt>
                <c:pt idx="4">
                  <c:v>94.18474576672654</c:v>
                </c:pt>
                <c:pt idx="5">
                  <c:v>96.17426353422196</c:v>
                </c:pt>
                <c:pt idx="6">
                  <c:v>98.11203415232502</c:v>
                </c:pt>
                <c:pt idx="7">
                  <c:v>100.0</c:v>
                </c:pt>
                <c:pt idx="8">
                  <c:v>99.30928554277845</c:v>
                </c:pt>
                <c:pt idx="9">
                  <c:v>98.8179841268903</c:v>
                </c:pt>
                <c:pt idx="10">
                  <c:v>98.48873839089852</c:v>
                </c:pt>
                <c:pt idx="11">
                  <c:v>98.29103288691923</c:v>
                </c:pt>
                <c:pt idx="12">
                  <c:v>98.19991730561696</c:v>
                </c:pt>
                <c:pt idx="13">
                  <c:v>99.0492718839392</c:v>
                </c:pt>
                <c:pt idx="14">
                  <c:v>99.88303048714694</c:v>
                </c:pt>
                <c:pt idx="15">
                  <c:v>100.70171514549253</c:v>
                </c:pt>
                <c:pt idx="16">
                  <c:v>101.50576894060117</c:v>
                </c:pt>
                <c:pt idx="17">
                  <c:v>102.29557274477853</c:v>
                </c:pt>
                <c:pt idx="18">
                  <c:v>103.07145902965564</c:v>
                </c:pt>
                <c:pt idx="19">
                  <c:v>103.8337231509351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E$2:$E$21</c:f>
              <c:numCache>
                <c:formatCode>General</c:formatCode>
                <c:ptCount val="20"/>
                <c:pt idx="0">
                  <c:v>0.5730456211494893</c:v>
                </c:pt>
                <c:pt idx="1">
                  <c:v>0.5827823230617017</c:v>
                </c:pt>
                <c:pt idx="2">
                  <c:v>0.5920848353680184</c:v>
                </c:pt>
                <c:pt idx="3">
                  <c:v>0.6009815674210606</c:v>
                </c:pt>
                <c:pt idx="4">
                  <c:v>0.6094985030150614</c:v>
                </c:pt>
                <c:pt idx="5">
                  <c:v>0.6176594538402429</c:v>
                </c:pt>
                <c:pt idx="6">
                  <c:v>0.6254862818066658</c:v>
                </c:pt>
                <c:pt idx="7">
                  <c:v>0.6329990946089393</c:v>
                </c:pt>
                <c:pt idx="8">
                  <c:v>0.6402164182154498</c:v>
                </c:pt>
                <c:pt idx="9">
                  <c:v>0.6471553493974084</c:v>
                </c:pt>
                <c:pt idx="10">
                  <c:v>0.6538316909414497</c:v>
                </c:pt>
                <c:pt idx="11">
                  <c:v>0.6602600717967618</c:v>
                </c:pt>
                <c:pt idx="12">
                  <c:v>0.6664540540794097</c:v>
                </c:pt>
                <c:pt idx="13">
                  <c:v>0.6724262285811212</c:v>
                </c:pt>
                <c:pt idx="14">
                  <c:v>0.6781883001979881</c:v>
                </c:pt>
                <c:pt idx="15">
                  <c:v>0.6837511644988007</c:v>
                </c:pt>
                <c:pt idx="16">
                  <c:v>0.6891249764869266</c:v>
                </c:pt>
                <c:pt idx="17">
                  <c:v>0.6943192124687655</c:v>
                </c:pt>
                <c:pt idx="18">
                  <c:v>0.6993427258217851</c:v>
                </c:pt>
                <c:pt idx="19">
                  <c:v>0.704203797352556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5</c:f>
              <c:strCache>
                <c:ptCount val="14"/>
                <c:pt idx="0">
                  <c:v>5</c:v>
                </c:pt>
                <c:pt idx="1">
                  <c:v>6</c:v>
                </c:pt>
                <c:pt idx="2">
                  <c:v>6</c:v>
                </c:pt>
                <c:pt idx="3">
                  <c:v>6</c:v>
                </c:pt>
                <c:pt idx="4">
                  <c:v>6</c:v>
                </c:pt>
                <c:pt idx="5">
                  <c:v>6</c:v>
                </c:pt>
                <c:pt idx="6">
                  <c:v>7</c:v>
                </c:pt>
                <c:pt idx="7">
                  <c:v>7</c:v>
                </c:pt>
                <c:pt idx="8">
                  <c:v>7</c:v>
                </c:pt>
                <c:pt idx="9">
                  <c:v>7</c:v>
                </c:pt>
                <c:pt idx="10">
                  <c:v>7</c:v>
                </c:pt>
                <c:pt idx="11">
                  <c:v>8</c:v>
                </c:pt>
                <c:pt idx="12">
                  <c:v>8</c:v>
                </c:pt>
                <c:pt idx="13">
                  <c:v>8</c:v>
                </c:pt>
              </c:strCache>
            </c:strRef>
          </c:cat>
          <c:val>
            <c:numRef>
              <c:f>Sheet1!$B$2:$B$15</c:f>
              <c:numCache>
                <c:formatCode>General</c:formatCode>
                <c:ptCount val="14"/>
                <c:pt idx="0">
                  <c:v>118.53648494709074</c:v>
                </c:pt>
                <c:pt idx="1">
                  <c:v>114.16992869672083</c:v>
                </c:pt>
                <c:pt idx="2">
                  <c:v>110.17713555473276</c:v>
                </c:pt>
                <c:pt idx="3">
                  <c:v>106.51051180985877</c:v>
                </c:pt>
                <c:pt idx="4">
                  <c:v>103.12960915572518</c:v>
                </c:pt>
                <c:pt idx="5">
                  <c:v>100.0</c:v>
                </c:pt>
                <c:pt idx="6">
                  <c:v>90.94246681447879</c:v>
                </c:pt>
                <c:pt idx="7">
                  <c:v>83.75024275381115</c:v>
                </c:pt>
                <c:pt idx="8">
                  <c:v>77.90801345732076</c:v>
                </c:pt>
                <c:pt idx="9">
                  <c:v>73.86544737779477</c:v>
                </c:pt>
                <c:pt idx="10">
                  <c:v>70.1942937829954</c:v>
                </c:pt>
                <c:pt idx="11">
                  <c:v>66.85179807384057</c:v>
                </c:pt>
                <c:pt idx="12">
                  <c:v>63.80041354418393</c:v>
                </c:pt>
                <c:pt idx="13">
                  <c:v>61.0072105534170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5</c:f>
              <c:strCache>
                <c:ptCount val="14"/>
                <c:pt idx="0">
                  <c:v>5</c:v>
                </c:pt>
                <c:pt idx="1">
                  <c:v>6</c:v>
                </c:pt>
                <c:pt idx="2">
                  <c:v>6</c:v>
                </c:pt>
                <c:pt idx="3">
                  <c:v>6</c:v>
                </c:pt>
                <c:pt idx="4">
                  <c:v>6</c:v>
                </c:pt>
                <c:pt idx="5">
                  <c:v>6</c:v>
                </c:pt>
                <c:pt idx="6">
                  <c:v>7</c:v>
                </c:pt>
                <c:pt idx="7">
                  <c:v>7</c:v>
                </c:pt>
                <c:pt idx="8">
                  <c:v>7</c:v>
                </c:pt>
                <c:pt idx="9">
                  <c:v>7</c:v>
                </c:pt>
                <c:pt idx="10">
                  <c:v>7</c:v>
                </c:pt>
                <c:pt idx="11">
                  <c:v>8</c:v>
                </c:pt>
                <c:pt idx="12">
                  <c:v>8</c:v>
                </c:pt>
                <c:pt idx="13">
                  <c:v>8</c:v>
                </c:pt>
              </c:strCache>
            </c:strRef>
          </c:cat>
          <c:val>
            <c:numRef>
              <c:f>Sheet1!$C$2:$C$15</c:f>
              <c:numCache>
                <c:formatCode>General</c:formatCode>
                <c:ptCount val="14"/>
                <c:pt idx="0">
                  <c:v>100.25978388663736</c:v>
                </c:pt>
                <c:pt idx="1">
                  <c:v>100.08750350037627</c:v>
                </c:pt>
                <c:pt idx="2">
                  <c:v>99.98492578057908</c:v>
                </c:pt>
                <c:pt idx="3">
                  <c:v>99.941985190576</c:v>
                </c:pt>
                <c:pt idx="4">
                  <c:v>99.94967018139994</c:v>
                </c:pt>
                <c:pt idx="5">
                  <c:v>100.0</c:v>
                </c:pt>
                <c:pt idx="6">
                  <c:v>93.74923487193394</c:v>
                </c:pt>
                <c:pt idx="7">
                  <c:v>88.9197560607956</c:v>
                </c:pt>
                <c:pt idx="8">
                  <c:v>85.12125059164906</c:v>
                </c:pt>
                <c:pt idx="9">
                  <c:v>82.98282699499507</c:v>
                </c:pt>
                <c:pt idx="10">
                  <c:v>81.0238493050803</c:v>
                </c:pt>
                <c:pt idx="11">
                  <c:v>79.22798192906927</c:v>
                </c:pt>
                <c:pt idx="12">
                  <c:v>77.5799555115638</c:v>
                </c:pt>
                <c:pt idx="13">
                  <c:v>76.0656314405180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5</c:f>
              <c:strCache>
                <c:ptCount val="14"/>
                <c:pt idx="0">
                  <c:v>5</c:v>
                </c:pt>
                <c:pt idx="1">
                  <c:v>6</c:v>
                </c:pt>
                <c:pt idx="2">
                  <c:v>6</c:v>
                </c:pt>
                <c:pt idx="3">
                  <c:v>6</c:v>
                </c:pt>
                <c:pt idx="4">
                  <c:v>6</c:v>
                </c:pt>
                <c:pt idx="5">
                  <c:v>6</c:v>
                </c:pt>
                <c:pt idx="6">
                  <c:v>7</c:v>
                </c:pt>
                <c:pt idx="7">
                  <c:v>7</c:v>
                </c:pt>
                <c:pt idx="8">
                  <c:v>7</c:v>
                </c:pt>
                <c:pt idx="9">
                  <c:v>7</c:v>
                </c:pt>
                <c:pt idx="10">
                  <c:v>7</c:v>
                </c:pt>
                <c:pt idx="11">
                  <c:v>8</c:v>
                </c:pt>
                <c:pt idx="12">
                  <c:v>8</c:v>
                </c:pt>
                <c:pt idx="13">
                  <c:v>8</c:v>
                </c:pt>
              </c:strCache>
            </c:strRef>
          </c:cat>
          <c:val>
            <c:numRef>
              <c:f>Sheet1!$D$2:$D$15</c:f>
              <c:numCache>
                <c:formatCode>General</c:formatCode>
                <c:ptCount val="14"/>
                <c:pt idx="0">
                  <c:v>86.70001039313205</c:v>
                </c:pt>
                <c:pt idx="1">
                  <c:v>89.6389631874748</c:v>
                </c:pt>
                <c:pt idx="2">
                  <c:v>92.42234094909566</c:v>
                </c:pt>
                <c:pt idx="3">
                  <c:v>95.06789411969442</c:v>
                </c:pt>
                <c:pt idx="4">
                  <c:v>97.58990856630507</c:v>
                </c:pt>
                <c:pt idx="5">
                  <c:v>100.0</c:v>
                </c:pt>
                <c:pt idx="6">
                  <c:v>95.82752398806672</c:v>
                </c:pt>
                <c:pt idx="7">
                  <c:v>92.7476834101954</c:v>
                </c:pt>
                <c:pt idx="8">
                  <c:v>90.46271248905215</c:v>
                </c:pt>
                <c:pt idx="9">
                  <c:v>89.73644565758757</c:v>
                </c:pt>
                <c:pt idx="10">
                  <c:v>89.04704489041121</c:v>
                </c:pt>
                <c:pt idx="11">
                  <c:v>88.39782825228774</c:v>
                </c:pt>
                <c:pt idx="12">
                  <c:v>87.7900935193689</c:v>
                </c:pt>
                <c:pt idx="13">
                  <c:v>87.2236721906427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5</c:f>
              <c:strCache>
                <c:ptCount val="14"/>
                <c:pt idx="0">
                  <c:v>5</c:v>
                </c:pt>
                <c:pt idx="1">
                  <c:v>6</c:v>
                </c:pt>
                <c:pt idx="2">
                  <c:v>6</c:v>
                </c:pt>
                <c:pt idx="3">
                  <c:v>6</c:v>
                </c:pt>
                <c:pt idx="4">
                  <c:v>6</c:v>
                </c:pt>
                <c:pt idx="5">
                  <c:v>6</c:v>
                </c:pt>
                <c:pt idx="6">
                  <c:v>7</c:v>
                </c:pt>
                <c:pt idx="7">
                  <c:v>7</c:v>
                </c:pt>
                <c:pt idx="8">
                  <c:v>7</c:v>
                </c:pt>
                <c:pt idx="9">
                  <c:v>7</c:v>
                </c:pt>
                <c:pt idx="10">
                  <c:v>7</c:v>
                </c:pt>
                <c:pt idx="11">
                  <c:v>8</c:v>
                </c:pt>
                <c:pt idx="12">
                  <c:v>8</c:v>
                </c:pt>
                <c:pt idx="13">
                  <c:v>8</c:v>
                </c:pt>
              </c:strCache>
            </c:strRef>
          </c:cat>
          <c:val>
            <c:numRef>
              <c:f>Sheet1!$E$2:$E$15</c:f>
              <c:numCache>
                <c:formatCode>General</c:formatCode>
                <c:ptCount val="14"/>
                <c:pt idx="0">
                  <c:v>0.49785956296255396</c:v>
                </c:pt>
                <c:pt idx="1">
                  <c:v>0.5155717476905063</c:v>
                </c:pt>
                <c:pt idx="2">
                  <c:v>0.5320769692342708</c:v>
                </c:pt>
                <c:pt idx="3">
                  <c:v>0.5474945320272108</c:v>
                </c:pt>
                <c:pt idx="4">
                  <c:v>0.5619285182464385</c:v>
                </c:pt>
                <c:pt idx="5">
                  <c:v>0.5754701405572132</c:v>
                </c:pt>
                <c:pt idx="6">
                  <c:v>0.588199671574988</c:v>
                </c:pt>
                <c:pt idx="7">
                  <c:v>0.6001880363035182</c:v>
                </c:pt>
                <c:pt idx="8">
                  <c:v>0.6114981342864455</c:v>
                </c:pt>
                <c:pt idx="9">
                  <c:v>0.6221859435220316</c:v>
                </c:pt>
                <c:pt idx="10">
                  <c:v>0.6323014470421914</c:v>
                </c:pt>
                <c:pt idx="11">
                  <c:v>0.6418894145247941</c:v>
                </c:pt>
                <c:pt idx="12">
                  <c:v>0.6509900647274677</c:v>
                </c:pt>
                <c:pt idx="13">
                  <c:v>0.659639629418236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B$2:$B$21</c:f>
              <c:numCache>
                <c:formatCode>General</c:formatCode>
                <c:ptCount val="20"/>
                <c:pt idx="0">
                  <c:v>113.07584276062437</c:v>
                </c:pt>
                <c:pt idx="1">
                  <c:v>109.71939058953923</c:v>
                </c:pt>
                <c:pt idx="2">
                  <c:v>106.63959774196195</c:v>
                </c:pt>
                <c:pt idx="3">
                  <c:v>105.23156872976855</c:v>
                </c:pt>
                <c:pt idx="4">
                  <c:v>103.86530141310315</c:v>
                </c:pt>
                <c:pt idx="5">
                  <c:v>102.5390446131382</c:v>
                </c:pt>
                <c:pt idx="6">
                  <c:v>101.2511366925259</c:v>
                </c:pt>
                <c:pt idx="7">
                  <c:v>100.0</c:v>
                </c:pt>
                <c:pt idx="8">
                  <c:v>93.57456108987296</c:v>
                </c:pt>
                <c:pt idx="9">
                  <c:v>88.26317242733165</c:v>
                </c:pt>
                <c:pt idx="10">
                  <c:v>83.81095301759765</c:v>
                </c:pt>
                <c:pt idx="11">
                  <c:v>80.02570652132476</c:v>
                </c:pt>
                <c:pt idx="12">
                  <c:v>76.76366027796611</c:v>
                </c:pt>
                <c:pt idx="13">
                  <c:v>74.57520855445343</c:v>
                </c:pt>
                <c:pt idx="14">
                  <c:v>72.5413248150112</c:v>
                </c:pt>
                <c:pt idx="15">
                  <c:v>70.64584202726284</c:v>
                </c:pt>
                <c:pt idx="16">
                  <c:v>68.87461868564925</c:v>
                </c:pt>
                <c:pt idx="17">
                  <c:v>67.21526125238438</c:v>
                </c:pt>
                <c:pt idx="18">
                  <c:v>65.65688571737287</c:v>
                </c:pt>
                <c:pt idx="19">
                  <c:v>64.1899130917592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C$2:$C$21</c:f>
              <c:numCache>
                <c:formatCode>General</c:formatCode>
                <c:ptCount val="20"/>
                <c:pt idx="0">
                  <c:v>97.21622265026588</c:v>
                </c:pt>
                <c:pt idx="1">
                  <c:v>96.52943651204436</c:v>
                </c:pt>
                <c:pt idx="2">
                  <c:v>95.95704118325304</c:v>
                </c:pt>
                <c:pt idx="3">
                  <c:v>96.79846915593987</c:v>
                </c:pt>
                <c:pt idx="4">
                  <c:v>97.62267247910978</c:v>
                </c:pt>
                <c:pt idx="5">
                  <c:v>98.43048378776076</c:v>
                </c:pt>
                <c:pt idx="6">
                  <c:v>99.22268284871748</c:v>
                </c:pt>
                <c:pt idx="7">
                  <c:v>100.0</c:v>
                </c:pt>
                <c:pt idx="8">
                  <c:v>95.45110665320229</c:v>
                </c:pt>
                <c:pt idx="9">
                  <c:v>91.80311468756952</c:v>
                </c:pt>
                <c:pt idx="10">
                  <c:v>88.8528577499059</c:v>
                </c:pt>
                <c:pt idx="11">
                  <c:v>86.44443312532393</c:v>
                </c:pt>
                <c:pt idx="12">
                  <c:v>84.4597958980572</c:v>
                </c:pt>
                <c:pt idx="13">
                  <c:v>83.546618728831</c:v>
                </c:pt>
                <c:pt idx="14">
                  <c:v>82.7219778369474</c:v>
                </c:pt>
                <c:pt idx="15">
                  <c:v>81.97640564995903</c:v>
                </c:pt>
                <c:pt idx="16">
                  <c:v>81.30152989127416</c:v>
                </c:pt>
                <c:pt idx="17">
                  <c:v>80.68994325565795</c:v>
                </c:pt>
                <c:pt idx="18">
                  <c:v>80.13508747853265</c:v>
                </c:pt>
                <c:pt idx="19">
                  <c:v>79.6311508479699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D$2:$D$21</c:f>
              <c:numCache>
                <c:formatCode>General</c:formatCode>
                <c:ptCount val="20"/>
                <c:pt idx="0">
                  <c:v>86.75436239064821</c:v>
                </c:pt>
                <c:pt idx="1">
                  <c:v>87.82781222103793</c:v>
                </c:pt>
                <c:pt idx="2">
                  <c:v>88.9086912099295</c:v>
                </c:pt>
                <c:pt idx="3">
                  <c:v>91.23413326395581</c:v>
                </c:pt>
                <c:pt idx="4">
                  <c:v>93.50352591728777</c:v>
                </c:pt>
                <c:pt idx="5">
                  <c:v>95.71940067442502</c:v>
                </c:pt>
                <c:pt idx="6">
                  <c:v>97.88414266972151</c:v>
                </c:pt>
                <c:pt idx="7">
                  <c:v>100.0</c:v>
                </c:pt>
                <c:pt idx="8">
                  <c:v>96.68627912255944</c:v>
                </c:pt>
                <c:pt idx="9">
                  <c:v>94.1333598386402</c:v>
                </c:pt>
                <c:pt idx="10">
                  <c:v>92.17207330939432</c:v>
                </c:pt>
                <c:pt idx="11">
                  <c:v>90.67037024875458</c:v>
                </c:pt>
                <c:pt idx="12">
                  <c:v>89.5271113249099</c:v>
                </c:pt>
                <c:pt idx="13">
                  <c:v>89.45470263152677</c:v>
                </c:pt>
                <c:pt idx="14">
                  <c:v>89.42729276815267</c:v>
                </c:pt>
                <c:pt idx="15">
                  <c:v>89.43983372844092</c:v>
                </c:pt>
                <c:pt idx="16">
                  <c:v>89.48775877587438</c:v>
                </c:pt>
                <c:pt idx="17">
                  <c:v>89.56694936876232</c:v>
                </c:pt>
                <c:pt idx="18">
                  <c:v>89.67370013412646</c:v>
                </c:pt>
                <c:pt idx="19">
                  <c:v>89.8046837419619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E$2:$E$21</c:f>
              <c:numCache>
                <c:formatCode>General</c:formatCode>
                <c:ptCount val="20"/>
                <c:pt idx="0">
                  <c:v>0.5384287293674942</c:v>
                </c:pt>
                <c:pt idx="1">
                  <c:v>0.5489548700888741</c:v>
                </c:pt>
                <c:pt idx="2">
                  <c:v>0.5590116176900141</c:v>
                </c:pt>
                <c:pt idx="3">
                  <c:v>0.5686296849159679</c:v>
                </c:pt>
                <c:pt idx="4">
                  <c:v>0.5778371622923614</c:v>
                </c:pt>
                <c:pt idx="5">
                  <c:v>0.5866597921295116</c:v>
                </c:pt>
                <c:pt idx="6">
                  <c:v>0.5951212088719985</c:v>
                </c:pt>
                <c:pt idx="7">
                  <c:v>0.6032431505195011</c:v>
                </c:pt>
                <c:pt idx="8">
                  <c:v>0.6110456451012216</c:v>
                </c:pt>
                <c:pt idx="9">
                  <c:v>0.6185471755717865</c:v>
                </c:pt>
                <c:pt idx="10">
                  <c:v>0.6257648259867007</c:v>
                </c:pt>
                <c:pt idx="11">
                  <c:v>0.6327144113908473</c:v>
                </c:pt>
                <c:pt idx="12">
                  <c:v>0.6394105934985802</c:v>
                </c:pt>
                <c:pt idx="13">
                  <c:v>0.6458669839462333</c:v>
                </c:pt>
                <c:pt idx="14">
                  <c:v>0.6520962366472669</c:v>
                </c:pt>
                <c:pt idx="15">
                  <c:v>0.6581101305686625</c:v>
                </c:pt>
                <c:pt idx="16">
                  <c:v>0.6639196440679207</c:v>
                </c:pt>
                <c:pt idx="17">
                  <c:v>0.6695350217777297</c:v>
                </c:pt>
                <c:pt idx="18">
                  <c:v>0.6749658348955978</c:v>
                </c:pt>
                <c:pt idx="19">
                  <c:v>0.680221035624852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B$2:$B$21</c:f>
              <c:numCache>
                <c:formatCode>General</c:formatCode>
                <c:ptCount val="20"/>
                <c:pt idx="0">
                  <c:v>109.64607714356373</c:v>
                </c:pt>
                <c:pt idx="1">
                  <c:v>107.3674889522842</c:v>
                </c:pt>
                <c:pt idx="2">
                  <c:v>105.23676736376527</c:v>
                </c:pt>
                <c:pt idx="3">
                  <c:v>104.13500201278919</c:v>
                </c:pt>
                <c:pt idx="4">
                  <c:v>103.06150265616547</c:v>
                </c:pt>
                <c:pt idx="5">
                  <c:v>102.01518440622583</c:v>
                </c:pt>
                <c:pt idx="6">
                  <c:v>100.99501259624286</c:v>
                </c:pt>
                <c:pt idx="7">
                  <c:v>100.0</c:v>
                </c:pt>
                <c:pt idx="8">
                  <c:v>95.58628730594029</c:v>
                </c:pt>
                <c:pt idx="9">
                  <c:v>91.81116912657231</c:v>
                </c:pt>
                <c:pt idx="10">
                  <c:v>88.5633732713011</c:v>
                </c:pt>
                <c:pt idx="11">
                  <c:v>85.74360239291859</c:v>
                </c:pt>
                <c:pt idx="12">
                  <c:v>83.26909267310761</c:v>
                </c:pt>
                <c:pt idx="13">
                  <c:v>81.6113374588061</c:v>
                </c:pt>
                <c:pt idx="14">
                  <c:v>80.046278695106</c:v>
                </c:pt>
                <c:pt idx="15">
                  <c:v>78.5656615172239</c:v>
                </c:pt>
                <c:pt idx="16">
                  <c:v>77.162079414185</c:v>
                </c:pt>
                <c:pt idx="17">
                  <c:v>75.82888919012566</c:v>
                </c:pt>
                <c:pt idx="18">
                  <c:v>74.56013154575429</c:v>
                </c:pt>
                <c:pt idx="19">
                  <c:v>73.350458344796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C$2:$C$21</c:f>
              <c:numCache>
                <c:formatCode>General</c:formatCode>
                <c:ptCount val="20"/>
                <c:pt idx="0">
                  <c:v>94.37833443026713</c:v>
                </c:pt>
                <c:pt idx="1">
                  <c:v>94.55545400595588</c:v>
                </c:pt>
                <c:pt idx="2">
                  <c:v>94.77464410843255</c:v>
                </c:pt>
                <c:pt idx="3">
                  <c:v>95.85384974838146</c:v>
                </c:pt>
                <c:pt idx="4">
                  <c:v>96.91533800614583</c:v>
                </c:pt>
                <c:pt idx="5">
                  <c:v>97.95977813021578</c:v>
                </c:pt>
                <c:pt idx="6">
                  <c:v>98.98780070724051</c:v>
                </c:pt>
                <c:pt idx="7">
                  <c:v>100.0</c:v>
                </c:pt>
                <c:pt idx="8">
                  <c:v>97.49391120682323</c:v>
                </c:pt>
                <c:pt idx="9">
                  <c:v>95.47522456413809</c:v>
                </c:pt>
                <c:pt idx="10">
                  <c:v>93.86427838542203</c:v>
                </c:pt>
                <c:pt idx="11">
                  <c:v>92.58547521050518</c:v>
                </c:pt>
                <c:pt idx="12">
                  <c:v>91.57347852068644</c:v>
                </c:pt>
                <c:pt idx="13">
                  <c:v>91.37466152325328</c:v>
                </c:pt>
                <c:pt idx="14">
                  <c:v>91.21540389254999</c:v>
                </c:pt>
                <c:pt idx="15">
                  <c:v>91.09166881836077</c:v>
                </c:pt>
                <c:pt idx="16">
                  <c:v>90.99976398380326</c:v>
                </c:pt>
                <c:pt idx="17">
                  <c:v>90.93632373471344</c:v>
                </c:pt>
                <c:pt idx="18">
                  <c:v>90.89828800067181</c:v>
                </c:pt>
                <c:pt idx="19">
                  <c:v>90.882880058582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D$2:$D$21</c:f>
              <c:numCache>
                <c:formatCode>General</c:formatCode>
                <c:ptCount val="20"/>
                <c:pt idx="0">
                  <c:v>84.54289091176652</c:v>
                </c:pt>
                <c:pt idx="1">
                  <c:v>86.29762379581143</c:v>
                </c:pt>
                <c:pt idx="2">
                  <c:v>88.02699154696721</c:v>
                </c:pt>
                <c:pt idx="3">
                  <c:v>90.51132212055424</c:v>
                </c:pt>
                <c:pt idx="4">
                  <c:v>92.94907483942708</c:v>
                </c:pt>
                <c:pt idx="5">
                  <c:v>95.34200925073365</c:v>
                </c:pt>
                <c:pt idx="6">
                  <c:v>97.69179154729517</c:v>
                </c:pt>
                <c:pt idx="7">
                  <c:v>100.0</c:v>
                </c:pt>
                <c:pt idx="8">
                  <c:v>98.71260639935953</c:v>
                </c:pt>
                <c:pt idx="9">
                  <c:v>97.81686343941558</c:v>
                </c:pt>
                <c:pt idx="10">
                  <c:v>97.25323996576188</c:v>
                </c:pt>
                <c:pt idx="11">
                  <c:v>96.96118888381558</c:v>
                </c:pt>
                <c:pt idx="12">
                  <c:v>96.88640963628323</c:v>
                </c:pt>
                <c:pt idx="13">
                  <c:v>97.62679886407965</c:v>
                </c:pt>
                <c:pt idx="14">
                  <c:v>98.37266750530101</c:v>
                </c:pt>
                <c:pt idx="15">
                  <c:v>99.12269618076351</c:v>
                </c:pt>
                <c:pt idx="16">
                  <c:v>99.87558362735214</c:v>
                </c:pt>
                <c:pt idx="17">
                  <c:v>100.6300725804893</c:v>
                </c:pt>
                <c:pt idx="18">
                  <c:v>101.38496661070403</c:v>
                </c:pt>
                <c:pt idx="19">
                  <c:v>102.1391406837707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E$2:$E$21</c:f>
              <c:numCache>
                <c:formatCode>General</c:formatCode>
                <c:ptCount val="20"/>
                <c:pt idx="0">
                  <c:v>0.5501681692407356</c:v>
                </c:pt>
                <c:pt idx="1">
                  <c:v>0.5604265918350176</c:v>
                </c:pt>
                <c:pt idx="2">
                  <c:v>0.5702275596870798</c:v>
                </c:pt>
                <c:pt idx="3">
                  <c:v>0.5796010044049188</c:v>
                </c:pt>
                <c:pt idx="4">
                  <c:v>0.5885743020697017</c:v>
                </c:pt>
                <c:pt idx="5">
                  <c:v>0.5971725402709619</c:v>
                </c:pt>
                <c:pt idx="6">
                  <c:v>0.6054187523432043</c:v>
                </c:pt>
                <c:pt idx="7">
                  <c:v>0.6133341234095392</c:v>
                </c:pt>
                <c:pt idx="8">
                  <c:v>0.6209381721133831</c:v>
                </c:pt>
                <c:pt idx="9">
                  <c:v>0.6282489113204537</c:v>
                </c:pt>
                <c:pt idx="10">
                  <c:v>0.6352829905764528</c:v>
                </c:pt>
                <c:pt idx="11">
                  <c:v>0.6420558226920245</c:v>
                </c:pt>
                <c:pt idx="12">
                  <c:v>0.6485816964806841</c:v>
                </c:pt>
                <c:pt idx="13">
                  <c:v>0.6548738773852378</c:v>
                </c:pt>
                <c:pt idx="14">
                  <c:v>0.6609446974840023</c:v>
                </c:pt>
                <c:pt idx="15">
                  <c:v>0.6668056361618931</c:v>
                </c:pt>
                <c:pt idx="16">
                  <c:v>0.6724673925567635</c:v>
                </c:pt>
                <c:pt idx="17">
                  <c:v>0.6779399507429495</c:v>
                </c:pt>
                <c:pt idx="18">
                  <c:v>0.6832326384875189</c:v>
                </c:pt>
                <c:pt idx="19">
                  <c:v>0.688354180306637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B$2:$B$21</c:f>
              <c:numCache>
                <c:formatCode>General</c:formatCode>
                <c:ptCount val="20"/>
                <c:pt idx="0">
                  <c:v>109.16936575168714</c:v>
                </c:pt>
                <c:pt idx="1">
                  <c:v>107.08980967699905</c:v>
                </c:pt>
                <c:pt idx="2">
                  <c:v>105.14150865856082</c:v>
                </c:pt>
                <c:pt idx="3">
                  <c:v>104.06128068082054</c:v>
                </c:pt>
                <c:pt idx="4">
                  <c:v>103.00803138964876</c:v>
                </c:pt>
                <c:pt idx="5">
                  <c:v>101.98072143394432</c:v>
                </c:pt>
                <c:pt idx="6">
                  <c:v>100.97835952611425</c:v>
                </c:pt>
                <c:pt idx="7">
                  <c:v>100.0</c:v>
                </c:pt>
                <c:pt idx="8">
                  <c:v>95.4648838054389</c:v>
                </c:pt>
                <c:pt idx="9">
                  <c:v>91.55689555919366</c:v>
                </c:pt>
                <c:pt idx="10">
                  <c:v>88.17041205254019</c:v>
                </c:pt>
                <c:pt idx="11">
                  <c:v>85.2120851923898</c:v>
                </c:pt>
                <c:pt idx="12">
                  <c:v>82.60360875763934</c:v>
                </c:pt>
                <c:pt idx="13">
                  <c:v>80.86868385063298</c:v>
                </c:pt>
                <c:pt idx="14">
                  <c:v>79.2274393419689</c:v>
                </c:pt>
                <c:pt idx="15">
                  <c:v>77.67204000858214</c:v>
                </c:pt>
                <c:pt idx="16">
                  <c:v>76.19542504881605</c:v>
                </c:pt>
                <c:pt idx="17">
                  <c:v>74.79123360603172</c:v>
                </c:pt>
                <c:pt idx="18">
                  <c:v>73.453734686628</c:v>
                </c:pt>
                <c:pt idx="19">
                  <c:v>72.1777623077310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C$2:$C$21</c:f>
              <c:numCache>
                <c:formatCode>General</c:formatCode>
                <c:ptCount val="20"/>
                <c:pt idx="0">
                  <c:v>93.96963253117157</c:v>
                </c:pt>
                <c:pt idx="1">
                  <c:v>94.31241241457933</c:v>
                </c:pt>
                <c:pt idx="2">
                  <c:v>94.69019317306895</c:v>
                </c:pt>
                <c:pt idx="3">
                  <c:v>95.78707112529813</c:v>
                </c:pt>
                <c:pt idx="4">
                  <c:v>96.86587271792077</c:v>
                </c:pt>
                <c:pt idx="5">
                  <c:v>97.92723432949087</c:v>
                </c:pt>
                <c:pt idx="6">
                  <c:v>98.97175522225633</c:v>
                </c:pt>
                <c:pt idx="7">
                  <c:v>100.0</c:v>
                </c:pt>
                <c:pt idx="8">
                  <c:v>97.37044109579854</c:v>
                </c:pt>
                <c:pt idx="9">
                  <c:v>95.21154901939258</c:v>
                </c:pt>
                <c:pt idx="10">
                  <c:v>93.44897001234716</c:v>
                </c:pt>
                <c:pt idx="11">
                  <c:v>92.01317929088968</c:v>
                </c:pt>
                <c:pt idx="12">
                  <c:v>90.84374352898006</c:v>
                </c:pt>
                <c:pt idx="13">
                  <c:v>90.54551996897955</c:v>
                </c:pt>
                <c:pt idx="14">
                  <c:v>90.2849378043874</c:v>
                </c:pt>
                <c:pt idx="15">
                  <c:v>90.05850267383079</c:v>
                </c:pt>
                <c:pt idx="16">
                  <c:v>89.86301110029368</c:v>
                </c:pt>
                <c:pt idx="17">
                  <c:v>89.69553795998073</c:v>
                </c:pt>
                <c:pt idx="18">
                  <c:v>89.55342046582867</c:v>
                </c:pt>
                <c:pt idx="19">
                  <c:v>89.4342403045693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D$2:$D$21</c:f>
              <c:numCache>
                <c:formatCode>General</c:formatCode>
                <c:ptCount val="20"/>
                <c:pt idx="0">
                  <c:v>81.34691313078683</c:v>
                </c:pt>
                <c:pt idx="1">
                  <c:v>83.69626776108984</c:v>
                </c:pt>
                <c:pt idx="2">
                  <c:v>86.00155891820863</c:v>
                </c:pt>
                <c:pt idx="3">
                  <c:v>88.90663656312518</c:v>
                </c:pt>
                <c:pt idx="4">
                  <c:v>91.75708833887124</c:v>
                </c:pt>
                <c:pt idx="5">
                  <c:v>94.55489729413965</c:v>
                </c:pt>
                <c:pt idx="6">
                  <c:v>97.30194142853982</c:v>
                </c:pt>
                <c:pt idx="7">
                  <c:v>100.0</c:v>
                </c:pt>
                <c:pt idx="8">
                  <c:v>98.94056738905249</c:v>
                </c:pt>
                <c:pt idx="9">
                  <c:v>98.22369881032985</c:v>
                </c:pt>
                <c:pt idx="10">
                  <c:v>97.80073185754907</c:v>
                </c:pt>
                <c:pt idx="11">
                  <c:v>97.62168477802521</c:v>
                </c:pt>
                <c:pt idx="12">
                  <c:v>97.64076144989532</c:v>
                </c:pt>
                <c:pt idx="13">
                  <c:v>98.534276413083</c:v>
                </c:pt>
                <c:pt idx="14">
                  <c:v>99.41901655036826</c:v>
                </c:pt>
                <c:pt idx="15">
                  <c:v>100.29509666374396</c:v>
                </c:pt>
                <c:pt idx="16">
                  <c:v>101.1625186741048</c:v>
                </c:pt>
                <c:pt idx="17">
                  <c:v>102.02121100510202</c:v>
                </c:pt>
                <c:pt idx="18">
                  <c:v>102.87105785210886</c:v>
                </c:pt>
                <c:pt idx="19">
                  <c:v>103.7119206564145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E$2:$E$21</c:f>
              <c:numCache>
                <c:formatCode>General</c:formatCode>
                <c:ptCount val="20"/>
                <c:pt idx="0">
                  <c:v>0.47763141057261504</c:v>
                </c:pt>
                <c:pt idx="1">
                  <c:v>0.4895440351889751</c:v>
                </c:pt>
                <c:pt idx="2">
                  <c:v>0.5009254390866569</c:v>
                </c:pt>
                <c:pt idx="3">
                  <c:v>0.5118103804370023</c:v>
                </c:pt>
                <c:pt idx="4">
                  <c:v>0.5222306497980055</c:v>
                </c:pt>
                <c:pt idx="5">
                  <c:v>0.5322153802097505</c:v>
                </c:pt>
                <c:pt idx="6">
                  <c:v>0.5417913192023861</c:v>
                </c:pt>
                <c:pt idx="7">
                  <c:v>0.550983068064926</c:v>
                </c:pt>
                <c:pt idx="8">
                  <c:v>0.5598132928817415</c:v>
                </c:pt>
                <c:pt idx="9">
                  <c:v>0.568302911148246</c:v>
                </c:pt>
                <c:pt idx="10">
                  <c:v>0.5764712572003132</c:v>
                </c:pt>
                <c:pt idx="11">
                  <c:v>0.5843362292114496</c:v>
                </c:pt>
                <c:pt idx="12">
                  <c:v>0.5919144201100558</c:v>
                </c:pt>
                <c:pt idx="13">
                  <c:v>0.5992212344321676</c:v>
                </c:pt>
                <c:pt idx="14">
                  <c:v>0.6062709928414524</c:v>
                </c:pt>
                <c:pt idx="15">
                  <c:v>0.6130770258087563</c:v>
                </c:pt>
                <c:pt idx="16">
                  <c:v>0.6196517577406382</c:v>
                </c:pt>
                <c:pt idx="17">
                  <c:v>0.6260067826739608</c:v>
                </c:pt>
                <c:pt idx="18">
                  <c:v>0.6321529325067635</c:v>
                </c:pt>
                <c:pt idx="19">
                  <c:v>0.638100338610130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B$2:$B$21</c:f>
              <c:numCache>
                <c:formatCode>General</c:formatCode>
                <c:ptCount val="20"/>
                <c:pt idx="0">
                  <c:v>108.08828653903211</c:v>
                </c:pt>
                <c:pt idx="1">
                  <c:v>106.33114046680276</c:v>
                </c:pt>
                <c:pt idx="2">
                  <c:v>104.6714124173679</c:v>
                </c:pt>
                <c:pt idx="3">
                  <c:v>103.69327079665463</c:v>
                </c:pt>
                <c:pt idx="4">
                  <c:v>102.73780981523284</c:v>
                </c:pt>
                <c:pt idx="5">
                  <c:v>101.80426579388006</c:v>
                </c:pt>
                <c:pt idx="6">
                  <c:v>100.89190042112624</c:v>
                </c:pt>
                <c:pt idx="7">
                  <c:v>100.0</c:v>
                </c:pt>
                <c:pt idx="8">
                  <c:v>95.87445356741577</c:v>
                </c:pt>
                <c:pt idx="9">
                  <c:v>92.24578484399714</c:v>
                </c:pt>
                <c:pt idx="10">
                  <c:v>89.0581829237007</c:v>
                </c:pt>
                <c:pt idx="11">
                  <c:v>86.25108715013913</c:v>
                </c:pt>
                <c:pt idx="12">
                  <c:v>83.76541733129119</c:v>
                </c:pt>
                <c:pt idx="13">
                  <c:v>82.3087946908826</c:v>
                </c:pt>
                <c:pt idx="14">
                  <c:v>80.92675050788942</c:v>
                </c:pt>
                <c:pt idx="15">
                  <c:v>79.61322336253535</c:v>
                </c:pt>
                <c:pt idx="16">
                  <c:v>78.36269269755493</c:v>
                </c:pt>
                <c:pt idx="17">
                  <c:v>77.17014643955713</c:v>
                </c:pt>
                <c:pt idx="18">
                  <c:v>76.03104404453954</c:v>
                </c:pt>
                <c:pt idx="19">
                  <c:v>74.9412775693033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C$2:$C$21</c:f>
              <c:numCache>
                <c:formatCode>General</c:formatCode>
                <c:ptCount val="20"/>
                <c:pt idx="0">
                  <c:v>93.05760031140049</c:v>
                </c:pt>
                <c:pt idx="1">
                  <c:v>93.65989686200145</c:v>
                </c:pt>
                <c:pt idx="2">
                  <c:v>94.2795721855234</c:v>
                </c:pt>
                <c:pt idx="3">
                  <c:v>95.45861130200774</c:v>
                </c:pt>
                <c:pt idx="4">
                  <c:v>96.61954636935504</c:v>
                </c:pt>
                <c:pt idx="5">
                  <c:v>97.76302320881</c:v>
                </c:pt>
                <c:pt idx="6">
                  <c:v>98.88965016573292</c:v>
                </c:pt>
                <c:pt idx="7">
                  <c:v>100.0</c:v>
                </c:pt>
                <c:pt idx="8">
                  <c:v>97.78451289833049</c:v>
                </c:pt>
                <c:pt idx="9">
                  <c:v>95.92108719931787</c:v>
                </c:pt>
                <c:pt idx="10">
                  <c:v>94.38025094567645</c:v>
                </c:pt>
                <c:pt idx="11">
                  <c:v>93.12297077527863</c:v>
                </c:pt>
                <c:pt idx="12">
                  <c:v>92.10702880295547</c:v>
                </c:pt>
                <c:pt idx="13">
                  <c:v>92.14096514020149</c:v>
                </c:pt>
                <c:pt idx="14">
                  <c:v>92.20185332926918</c:v>
                </c:pt>
                <c:pt idx="15">
                  <c:v>92.28711359662914</c:v>
                </c:pt>
                <c:pt idx="16">
                  <c:v>92.39432302514689</c:v>
                </c:pt>
                <c:pt idx="17">
                  <c:v>92.5212302776643</c:v>
                </c:pt>
                <c:pt idx="18">
                  <c:v>92.66576090823239</c:v>
                </c:pt>
                <c:pt idx="19">
                  <c:v>92.826015847376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D$2:$D$21</c:f>
              <c:numCache>
                <c:formatCode>General</c:formatCode>
                <c:ptCount val="20"/>
                <c:pt idx="0">
                  <c:v>80.14371239133769</c:v>
                </c:pt>
                <c:pt idx="1">
                  <c:v>82.76803398788502</c:v>
                </c:pt>
                <c:pt idx="2">
                  <c:v>85.34198843378294</c:v>
                </c:pt>
                <c:pt idx="3">
                  <c:v>88.37423650307967</c:v>
                </c:pt>
                <c:pt idx="4">
                  <c:v>91.35439973677646</c:v>
                </c:pt>
                <c:pt idx="5">
                  <c:v>94.28428389463524</c:v>
                </c:pt>
                <c:pt idx="6">
                  <c:v>97.1656063457709</c:v>
                </c:pt>
                <c:pt idx="7">
                  <c:v>100.0</c:v>
                </c:pt>
                <c:pt idx="8">
                  <c:v>99.41543561666832</c:v>
                </c:pt>
                <c:pt idx="9">
                  <c:v>99.05970984899612</c:v>
                </c:pt>
                <c:pt idx="10">
                  <c:v>98.9258822535374</c:v>
                </c:pt>
                <c:pt idx="11">
                  <c:v>98.99331576111781</c:v>
                </c:pt>
                <c:pt idx="12">
                  <c:v>99.23418028542326</c:v>
                </c:pt>
                <c:pt idx="13">
                  <c:v>100.54852093606608</c:v>
                </c:pt>
                <c:pt idx="14">
                  <c:v>101.84912473095591</c:v>
                </c:pt>
                <c:pt idx="15">
                  <c:v>103.13640263044321</c:v>
                </c:pt>
                <c:pt idx="16">
                  <c:v>104.41059076252021</c:v>
                </c:pt>
                <c:pt idx="17">
                  <c:v>105.67180596542065</c:v>
                </c:pt>
                <c:pt idx="18">
                  <c:v>106.92008772020193</c:v>
                </c:pt>
                <c:pt idx="19">
                  <c:v>108.1554290451436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E$2:$E$21</c:f>
              <c:numCache>
                <c:formatCode>General</c:formatCode>
                <c:ptCount val="20"/>
                <c:pt idx="0">
                  <c:v>0.4685103331692536</c:v>
                </c:pt>
                <c:pt idx="1">
                  <c:v>0.48063096411180184</c:v>
                </c:pt>
                <c:pt idx="2">
                  <c:v>0.492211098691249</c:v>
                </c:pt>
                <c:pt idx="3">
                  <c:v>0.5032861019913307</c:v>
                </c:pt>
                <c:pt idx="4">
                  <c:v>0.5138883196649416</c:v>
                </c:pt>
                <c:pt idx="5">
                  <c:v>0.5240473934441486</c:v>
                </c:pt>
                <c:pt idx="6">
                  <c:v>0.5337905378976975</c:v>
                </c:pt>
                <c:pt idx="7">
                  <c:v>0.5431427838776834</c:v>
                </c:pt>
                <c:pt idx="8">
                  <c:v>0.552127193240954</c:v>
                </c:pt>
                <c:pt idx="9">
                  <c:v>0.5607650487232887</c:v>
                </c:pt>
                <c:pt idx="10">
                  <c:v>0.5690760222573796</c:v>
                </c:pt>
                <c:pt idx="11">
                  <c:v>0.5770783245367227</c:v>
                </c:pt>
                <c:pt idx="12">
                  <c:v>0.5847888382188243</c:v>
                </c:pt>
                <c:pt idx="13">
                  <c:v>0.5922232368183082</c:v>
                </c:pt>
                <c:pt idx="14">
                  <c:v>0.5993960910519351</c:v>
                </c:pt>
                <c:pt idx="15">
                  <c:v>0.6063209641538896</c:v>
                </c:pt>
                <c:pt idx="16">
                  <c:v>0.6130104974732798</c:v>
                </c:pt>
                <c:pt idx="17">
                  <c:v>0.6194764874904347</c:v>
                </c:pt>
                <c:pt idx="18">
                  <c:v>0.625729955239154</c:v>
                </c:pt>
                <c:pt idx="19">
                  <c:v>0.631781208994381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B$2:$B$21</c:f>
              <c:numCache>
                <c:formatCode>General</c:formatCode>
                <c:ptCount val="20"/>
                <c:pt idx="0">
                  <c:v>107.80637863534885</c:v>
                </c:pt>
                <c:pt idx="1">
                  <c:v>105.95176388934593</c:v>
                </c:pt>
                <c:pt idx="2">
                  <c:v>104.20522770844241</c:v>
                </c:pt>
                <c:pt idx="3">
                  <c:v>103.32624918210465</c:v>
                </c:pt>
                <c:pt idx="4">
                  <c:v>102.46696443860792</c:v>
                </c:pt>
                <c:pt idx="5">
                  <c:v>101.62662729398704</c:v>
                </c:pt>
                <c:pt idx="6">
                  <c:v>100.80452980835331</c:v>
                </c:pt>
                <c:pt idx="7">
                  <c:v>100.0</c:v>
                </c:pt>
                <c:pt idx="8">
                  <c:v>96.24534444619613</c:v>
                </c:pt>
                <c:pt idx="9">
                  <c:v>92.85034820431794</c:v>
                </c:pt>
                <c:pt idx="10">
                  <c:v>89.78309688533051</c:v>
                </c:pt>
                <c:pt idx="11">
                  <c:v>87.01358372540791</c:v>
                </c:pt>
                <c:pt idx="12">
                  <c:v>84.51351741597028</c:v>
                </c:pt>
                <c:pt idx="13">
                  <c:v>83.02109676128015</c:v>
                </c:pt>
                <c:pt idx="14">
                  <c:v>81.60269103277209</c:v>
                </c:pt>
                <c:pt idx="15">
                  <c:v>80.25376151093046</c:v>
                </c:pt>
                <c:pt idx="16">
                  <c:v>78.97000327728493</c:v>
                </c:pt>
                <c:pt idx="17">
                  <c:v>77.74732353515587</c:v>
                </c:pt>
                <c:pt idx="18">
                  <c:v>76.58181988403939</c:v>
                </c:pt>
                <c:pt idx="19">
                  <c:v>75.4697642017500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C$2:$C$21</c:f>
              <c:numCache>
                <c:formatCode>General</c:formatCode>
                <c:ptCount val="20"/>
                <c:pt idx="0">
                  <c:v>92.94844395021701</c:v>
                </c:pt>
                <c:pt idx="1">
                  <c:v>93.44250873647412</c:v>
                </c:pt>
                <c:pt idx="2">
                  <c:v>93.95983846856755</c:v>
                </c:pt>
                <c:pt idx="3">
                  <c:v>95.20138905056206</c:v>
                </c:pt>
                <c:pt idx="4">
                  <c:v>96.42569569426723</c:v>
                </c:pt>
                <c:pt idx="5">
                  <c:v>97.63325501854287</c:v>
                </c:pt>
                <c:pt idx="6">
                  <c:v>98.82453967229571</c:v>
                </c:pt>
                <c:pt idx="7">
                  <c:v>100.0</c:v>
                </c:pt>
                <c:pt idx="8">
                  <c:v>98.15684390449482</c:v>
                </c:pt>
                <c:pt idx="9">
                  <c:v>96.5375659512445</c:v>
                </c:pt>
                <c:pt idx="10">
                  <c:v>95.12981494772399</c:v>
                </c:pt>
                <c:pt idx="11">
                  <c:v>93.92077081822026</c:v>
                </c:pt>
                <c:pt idx="12">
                  <c:v>92.89712004352944</c:v>
                </c:pt>
                <c:pt idx="13">
                  <c:v>92.8931376876223</c:v>
                </c:pt>
                <c:pt idx="14">
                  <c:v>92.9142779752236</c:v>
                </c:pt>
                <c:pt idx="15">
                  <c:v>92.95966193374865</c:v>
                </c:pt>
                <c:pt idx="16">
                  <c:v>93.0283288264566</c:v>
                </c:pt>
                <c:pt idx="17">
                  <c:v>93.11923334123176</c:v>
                </c:pt>
                <c:pt idx="18">
                  <c:v>93.23124021265723</c:v>
                </c:pt>
                <c:pt idx="19">
                  <c:v>93.363123205860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D$2:$D$21</c:f>
              <c:numCache>
                <c:formatCode>General</c:formatCode>
                <c:ptCount val="20"/>
                <c:pt idx="0">
                  <c:v>73.99634162394422</c:v>
                </c:pt>
                <c:pt idx="1">
                  <c:v>77.4702814613044</c:v>
                </c:pt>
                <c:pt idx="2">
                  <c:v>80.86190576535755</c:v>
                </c:pt>
                <c:pt idx="3">
                  <c:v>84.80911369575227</c:v>
                </c:pt>
                <c:pt idx="4">
                  <c:v>88.69460737732808</c:v>
                </c:pt>
                <c:pt idx="5">
                  <c:v>92.52035448567476</c:v>
                </c:pt>
                <c:pt idx="6">
                  <c:v>96.28822550311921</c:v>
                </c:pt>
                <c:pt idx="7">
                  <c:v>100.0</c:v>
                </c:pt>
                <c:pt idx="8">
                  <c:v>100.55738542597632</c:v>
                </c:pt>
                <c:pt idx="9">
                  <c:v>101.1702208952552</c:v>
                </c:pt>
                <c:pt idx="10">
                  <c:v>101.85064348580678</c:v>
                </c:pt>
                <c:pt idx="11">
                  <c:v>102.60732037752187</c:v>
                </c:pt>
                <c:pt idx="12">
                  <c:v>103.44564096646351</c:v>
                </c:pt>
                <c:pt idx="13">
                  <c:v>105.33845913226097</c:v>
                </c:pt>
                <c:pt idx="14">
                  <c:v>107.19477601858189</c:v>
                </c:pt>
                <c:pt idx="15">
                  <c:v>109.01837431649597</c:v>
                </c:pt>
                <c:pt idx="16">
                  <c:v>110.81255140654545</c:v>
                </c:pt>
                <c:pt idx="17">
                  <c:v>112.58014034108838</c:v>
                </c:pt>
                <c:pt idx="18">
                  <c:v>114.32352492971066</c:v>
                </c:pt>
                <c:pt idx="19">
                  <c:v>116.0446576071201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E$2:$E$21</c:f>
              <c:numCache>
                <c:formatCode>General</c:formatCode>
                <c:ptCount val="20"/>
                <c:pt idx="0">
                  <c:v>0.35752944631408784</c:v>
                </c:pt>
                <c:pt idx="1">
                  <c:v>0.3721809982795589</c:v>
                </c:pt>
                <c:pt idx="2">
                  <c:v>0.38617919229785214</c:v>
                </c:pt>
                <c:pt idx="3">
                  <c:v>0.3995667780710722</c:v>
                </c:pt>
                <c:pt idx="4">
                  <c:v>0.4123828553801209</c:v>
                </c:pt>
                <c:pt idx="5">
                  <c:v>0.42466325547667005</c:v>
                </c:pt>
                <c:pt idx="6">
                  <c:v>0.43644087563067896</c:v>
                </c:pt>
                <c:pt idx="7">
                  <c:v>0.44774597341140754</c:v>
                </c:pt>
                <c:pt idx="8">
                  <c:v>0.4586064262450081</c:v>
                </c:pt>
                <c:pt idx="9">
                  <c:v>0.469047960936522</c:v>
                </c:pt>
                <c:pt idx="10">
                  <c:v>0.47909435713450643</c:v>
                </c:pt>
                <c:pt idx="11">
                  <c:v>0.48876762812550917</c:v>
                </c:pt>
                <c:pt idx="12">
                  <c:v>0.49808818185157094</c:v>
                </c:pt>
                <c:pt idx="13">
                  <c:v>0.5070749646295196</c:v>
                </c:pt>
                <c:pt idx="14">
                  <c:v>0.5157455897019996</c:v>
                </c:pt>
                <c:pt idx="15">
                  <c:v>0.5241164524556381</c:v>
                </c:pt>
                <c:pt idx="16">
                  <c:v>0.5322028338922457</c:v>
                </c:pt>
                <c:pt idx="17">
                  <c:v>0.5400189937269618</c:v>
                </c:pt>
                <c:pt idx="18">
                  <c:v>0.5475782543066339</c:v>
                </c:pt>
                <c:pt idx="19">
                  <c:v>0.554893076387367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Dollar Shave Club (2.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quate (21.7%)</c:v>
                </c:pt>
                <c:pt idx="1">
                  <c:v>Bic (16.9%)</c:v>
                </c:pt>
                <c:pt idx="2">
                  <c:v>Harrys (11.2%)</c:v>
                </c:pt>
                <c:pt idx="3">
                  <c:v>Gillette (38.7%)</c:v>
                </c:pt>
                <c:pt idx="4">
                  <c:v>Schick (11.2%)</c:v>
                </c:pt>
                <c:pt idx="5">
                  <c:v>Van Der Hagen (2.0%)</c:v>
                </c:pt>
              </c:strCache>
            </c:strRef>
          </c:cat>
          <c:val>
            <c:numRef>
              <c:f>Sheet1!$B$2:$B$7</c:f>
              <c:numCache>
                <c:formatCode>General</c:formatCode>
                <c:ptCount val="6"/>
                <c:pt idx="0">
                  <c:v>0.25137030662131804</c:v>
                </c:pt>
                <c:pt idx="1">
                  <c:v>0.17121835463309548</c:v>
                </c:pt>
                <c:pt idx="2">
                  <c:v>0.1396276915367942</c:v>
                </c:pt>
                <c:pt idx="3">
                  <c:v>0.1288371880111543</c:v>
                </c:pt>
                <c:pt idx="4">
                  <c:v>0.05774580044801844</c:v>
                </c:pt>
                <c:pt idx="5">
                  <c:v>0.00417160726264087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B$2:$B$32</c:f>
              <c:numCache>
                <c:formatCode>General</c:formatCode>
                <c:ptCount val="31"/>
                <c:pt idx="0">
                  <c:v>130.61119765319472</c:v>
                </c:pt>
                <c:pt idx="1">
                  <c:v>124.88567371042365</c:v>
                </c:pt>
                <c:pt idx="2">
                  <c:v>119.66872374578152</c:v>
                </c:pt>
                <c:pt idx="3">
                  <c:v>114.91411223631884</c:v>
                </c:pt>
                <c:pt idx="4">
                  <c:v>110.57387649369265</c:v>
                </c:pt>
                <c:pt idx="5">
                  <c:v>107.90604378360791</c:v>
                </c:pt>
                <c:pt idx="6">
                  <c:v>106.66200089228566</c:v>
                </c:pt>
                <c:pt idx="7">
                  <c:v>105.45976223312927</c:v>
                </c:pt>
                <c:pt idx="8">
                  <c:v>104.29701741735968</c:v>
                </c:pt>
                <c:pt idx="9">
                  <c:v>103.17161245600859</c:v>
                </c:pt>
                <c:pt idx="10">
                  <c:v>102.08153784815383</c:v>
                </c:pt>
                <c:pt idx="11">
                  <c:v>101.0249177357829</c:v>
                </c:pt>
                <c:pt idx="12">
                  <c:v>100.0</c:v>
                </c:pt>
                <c:pt idx="13">
                  <c:v>98.81613497540916</c:v>
                </c:pt>
                <c:pt idx="14">
                  <c:v>97.66922278108194</c:v>
                </c:pt>
                <c:pt idx="15">
                  <c:v>96.55717241176949</c:v>
                </c:pt>
                <c:pt idx="16">
                  <c:v>95.47805726520906</c:v>
                </c:pt>
                <c:pt idx="17">
                  <c:v>94.4300987657016</c:v>
                </c:pt>
                <c:pt idx="18">
                  <c:v>93.68342778269106</c:v>
                </c:pt>
                <c:pt idx="19">
                  <c:v>92.95405026287983</c:v>
                </c:pt>
                <c:pt idx="20">
                  <c:v>92.24128518029165</c:v>
                </c:pt>
                <c:pt idx="21">
                  <c:v>91.54448734079386</c:v>
                </c:pt>
                <c:pt idx="22">
                  <c:v>90.8630450081284</c:v>
                </c:pt>
                <c:pt idx="23">
                  <c:v>90.19637772043242</c:v>
                </c:pt>
                <c:pt idx="24">
                  <c:v>89.54393428017549</c:v>
                </c:pt>
                <c:pt idx="25">
                  <c:v>88.90519090201325</c:v>
                </c:pt>
                <c:pt idx="26">
                  <c:v>88.27964950447395</c:v>
                </c:pt>
                <c:pt idx="27">
                  <c:v>87.66683613271891</c:v>
                </c:pt>
                <c:pt idx="28">
                  <c:v>87.06629950078003</c:v>
                </c:pt>
                <c:pt idx="29">
                  <c:v>86.477609642756</c:v>
                </c:pt>
                <c:pt idx="30">
                  <c:v>85.9003566634397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C$2:$C$32</c:f>
              <c:numCache>
                <c:formatCode>General</c:formatCode>
                <c:ptCount val="31"/>
                <c:pt idx="0">
                  <c:v>109.82116802022601</c:v>
                </c:pt>
                <c:pt idx="1">
                  <c:v>106.6770484263755</c:v>
                </c:pt>
                <c:pt idx="2">
                  <c:v>103.82032217179295</c:v>
                </c:pt>
                <c:pt idx="3">
                  <c:v>101.23073845435657</c:v>
                </c:pt>
                <c:pt idx="4">
                  <c:v>98.88404531944555</c:v>
                </c:pt>
                <c:pt idx="5">
                  <c:v>97.93151184232968</c:v>
                </c:pt>
                <c:pt idx="6">
                  <c:v>98.21169046373845</c:v>
                </c:pt>
                <c:pt idx="7">
                  <c:v>98.49780050907245</c:v>
                </c:pt>
                <c:pt idx="8">
                  <c:v>98.78932008540666</c:v>
                </c:pt>
                <c:pt idx="9">
                  <c:v>99.0857549965755</c:v>
                </c:pt>
                <c:pt idx="10">
                  <c:v>99.38663750833392</c:v>
                </c:pt>
                <c:pt idx="11">
                  <c:v>99.69152521763196</c:v>
                </c:pt>
                <c:pt idx="12">
                  <c:v>100.0</c:v>
                </c:pt>
                <c:pt idx="13">
                  <c:v>100.12147556045224</c:v>
                </c:pt>
                <c:pt idx="14">
                  <c:v>100.24944193199903</c:v>
                </c:pt>
                <c:pt idx="15">
                  <c:v>100.3831992718462</c:v>
                </c:pt>
                <c:pt idx="16">
                  <c:v>100.52210970859437</c:v>
                </c:pt>
                <c:pt idx="17">
                  <c:v>100.665590804422</c:v>
                </c:pt>
                <c:pt idx="18">
                  <c:v>101.10400113300722</c:v>
                </c:pt>
                <c:pt idx="19">
                  <c:v>101.54141785966932</c:v>
                </c:pt>
                <c:pt idx="20">
                  <c:v>101.97777813218592</c:v>
                </c:pt>
                <c:pt idx="21">
                  <c:v>102.41302302290526</c:v>
                </c:pt>
                <c:pt idx="22">
                  <c:v>102.84709721892791</c:v>
                </c:pt>
                <c:pt idx="23">
                  <c:v>103.27994874148993</c:v>
                </c:pt>
                <c:pt idx="24">
                  <c:v>103.7115286924356</c:v>
                </c:pt>
                <c:pt idx="25">
                  <c:v>104.14179102570809</c:v>
                </c:pt>
                <c:pt idx="26">
                  <c:v>104.57069234181809</c:v>
                </c:pt>
                <c:pt idx="27">
                  <c:v>104.99819170335117</c:v>
                </c:pt>
                <c:pt idx="28">
                  <c:v>105.42425046962649</c:v>
                </c:pt>
                <c:pt idx="29">
                  <c:v>105.84883214871664</c:v>
                </c:pt>
                <c:pt idx="30">
                  <c:v>106.271902265146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D$2:$D$32</c:f>
              <c:numCache>
                <c:formatCode>General</c:formatCode>
                <c:ptCount val="31"/>
                <c:pt idx="0">
                  <c:v>92.78730454635948</c:v>
                </c:pt>
                <c:pt idx="1">
                  <c:v>91.73366285900899</c:v>
                </c:pt>
                <c:pt idx="2">
                  <c:v>90.7895190494482</c:v>
                </c:pt>
                <c:pt idx="3">
                  <c:v>89.95549933142978</c:v>
                </c:pt>
                <c:pt idx="4">
                  <c:v>89.22637306339222</c:v>
                </c:pt>
                <c:pt idx="5">
                  <c:v>89.67765093208206</c:v>
                </c:pt>
                <c:pt idx="6">
                  <c:v>91.2177962880861</c:v>
                </c:pt>
                <c:pt idx="7">
                  <c:v>92.7346576050099</c:v>
                </c:pt>
                <c:pt idx="8">
                  <c:v>94.22917405467274</c:v>
                </c:pt>
                <c:pt idx="9">
                  <c:v>95.70220686270413</c:v>
                </c:pt>
                <c:pt idx="10">
                  <c:v>97.1545468433931</c:v>
                </c:pt>
                <c:pt idx="11">
                  <c:v>98.58692125065309</c:v>
                </c:pt>
                <c:pt idx="12">
                  <c:v>100.0</c:v>
                </c:pt>
                <c:pt idx="13">
                  <c:v>101.20082773382586</c:v>
                </c:pt>
                <c:pt idx="14">
                  <c:v>102.38325229345257</c:v>
                </c:pt>
                <c:pt idx="15">
                  <c:v>103.5477065957115</c:v>
                </c:pt>
                <c:pt idx="16">
                  <c:v>104.6946019845386</c:v>
                </c:pt>
                <c:pt idx="17">
                  <c:v>105.82432971589928</c:v>
                </c:pt>
                <c:pt idx="18">
                  <c:v>107.24839013662042</c:v>
                </c:pt>
                <c:pt idx="19">
                  <c:v>108.65662711511041</c:v>
                </c:pt>
                <c:pt idx="20">
                  <c:v>110.04948015583751</c:v>
                </c:pt>
                <c:pt idx="21">
                  <c:v>111.42736663778305</c:v>
                </c:pt>
                <c:pt idx="22">
                  <c:v>112.79068319115359</c:v>
                </c:pt>
                <c:pt idx="23">
                  <c:v>114.13980697140906</c:v>
                </c:pt>
                <c:pt idx="24">
                  <c:v>115.47509684076933</c:v>
                </c:pt>
                <c:pt idx="25">
                  <c:v>116.79689446613057</c:v>
                </c:pt>
                <c:pt idx="26">
                  <c:v>118.1055253412269</c:v>
                </c:pt>
                <c:pt idx="27">
                  <c:v>119.40129973995639</c:v>
                </c:pt>
                <c:pt idx="28">
                  <c:v>120.68451360693902</c:v>
                </c:pt>
                <c:pt idx="29">
                  <c:v>121.9554493906572</c:v>
                </c:pt>
                <c:pt idx="30">
                  <c:v>123.2143768239175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E$2:$E$32</c:f>
              <c:numCache>
                <c:formatCode>General</c:formatCode>
                <c:ptCount val="31"/>
                <c:pt idx="0">
                  <c:v>0.46837994929034954</c:v>
                </c:pt>
                <c:pt idx="1">
                  <c:v>0.4767060268269143</c:v>
                </c:pt>
                <c:pt idx="2">
                  <c:v>0.4847753247941168</c:v>
                </c:pt>
                <c:pt idx="3">
                  <c:v>0.49259954157780517</c:v>
                </c:pt>
                <c:pt idx="4">
                  <c:v>0.5001896755856167</c:v>
                </c:pt>
                <c:pt idx="5">
                  <c:v>0.5075560768297489</c:v>
                </c:pt>
                <c:pt idx="6">
                  <c:v>0.5147084940145021</c:v>
                </c:pt>
                <c:pt idx="7">
                  <c:v>0.5216561175790763</c:v>
                </c:pt>
                <c:pt idx="8">
                  <c:v>0.52840761909525</c:v>
                </c:pt>
                <c:pt idx="9">
                  <c:v>0.5349711873750658</c:v>
                </c:pt>
                <c:pt idx="10">
                  <c:v>0.5413545616046462</c:v>
                </c:pt>
                <c:pt idx="11">
                  <c:v>0.547565061786032</c:v>
                </c:pt>
                <c:pt idx="12">
                  <c:v>0.5536096167387905</c:v>
                </c:pt>
                <c:pt idx="13">
                  <c:v>0.5594947898865981</c:v>
                </c:pt>
                <c:pt idx="14">
                  <c:v>0.5652268030305593</c:v>
                </c:pt>
                <c:pt idx="15">
                  <c:v>0.5708115582902823</c:v>
                </c:pt>
                <c:pt idx="16">
                  <c:v>0.5762546583753769</c:v>
                </c:pt>
                <c:pt idx="17">
                  <c:v>0.5815614253337317</c:v>
                </c:pt>
                <c:pt idx="18">
                  <c:v>0.5867369179084536</c:v>
                </c:pt>
                <c:pt idx="19">
                  <c:v>0.5917859476224615</c:v>
                </c:pt>
                <c:pt idx="20">
                  <c:v>0.5967130936982313</c:v>
                </c:pt>
                <c:pt idx="21">
                  <c:v>0.60152271690994</c:v>
                </c:pt>
                <c:pt idx="22">
                  <c:v>0.6062189724560809</c:v>
                </c:pt>
                <c:pt idx="23">
                  <c:v>0.6108058219324225</c:v>
                </c:pt>
                <c:pt idx="24">
                  <c:v>0.6152870444778178</c:v>
                </c:pt>
                <c:pt idx="25">
                  <c:v>0.619666247158776</c:v>
                </c:pt>
                <c:pt idx="26">
                  <c:v>0.6239468746527683</c:v>
                </c:pt>
                <c:pt idx="27">
                  <c:v>0.6281322182849023</c:v>
                </c:pt>
                <c:pt idx="28">
                  <c:v>0.6322254244677873</c:v>
                </c:pt>
                <c:pt idx="29">
                  <c:v>0.6362295025900759</c:v>
                </c:pt>
                <c:pt idx="30">
                  <c:v>0.640147332395244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2</c:f>
              <c:strCache>
                <c:ptCount val="41"/>
                <c:pt idx="0">
                  <c:v>17</c:v>
                </c:pt>
                <c:pt idx="1">
                  <c:v>17</c:v>
                </c:pt>
                <c:pt idx="2">
                  <c:v>17</c:v>
                </c:pt>
                <c:pt idx="3">
                  <c:v>18</c:v>
                </c:pt>
                <c:pt idx="4">
                  <c:v>18</c:v>
                </c:pt>
                <c:pt idx="5">
                  <c:v>18</c:v>
                </c:pt>
                <c:pt idx="6">
                  <c:v>18</c:v>
                </c:pt>
                <c:pt idx="7">
                  <c:v>18</c:v>
                </c:pt>
                <c:pt idx="8">
                  <c:v>19</c:v>
                </c:pt>
                <c:pt idx="9">
                  <c:v>19</c:v>
                </c:pt>
                <c:pt idx="10">
                  <c:v>19</c:v>
                </c:pt>
                <c:pt idx="11">
                  <c:v>19</c:v>
                </c:pt>
                <c:pt idx="12">
                  <c:v>19</c:v>
                </c:pt>
                <c:pt idx="13">
                  <c:v>20</c:v>
                </c:pt>
                <c:pt idx="14">
                  <c:v>20</c:v>
                </c:pt>
                <c:pt idx="15">
                  <c:v>20</c:v>
                </c:pt>
                <c:pt idx="16">
                  <c:v>20</c:v>
                </c:pt>
                <c:pt idx="17">
                  <c:v>20</c:v>
                </c:pt>
                <c:pt idx="18">
                  <c:v>21</c:v>
                </c:pt>
                <c:pt idx="19">
                  <c:v>21</c:v>
                </c:pt>
                <c:pt idx="20">
                  <c:v>21</c:v>
                </c:pt>
                <c:pt idx="21">
                  <c:v>21</c:v>
                </c:pt>
                <c:pt idx="22">
                  <c:v>21</c:v>
                </c:pt>
                <c:pt idx="23">
                  <c:v>22</c:v>
                </c:pt>
                <c:pt idx="24">
                  <c:v>22</c:v>
                </c:pt>
                <c:pt idx="25">
                  <c:v>22</c:v>
                </c:pt>
                <c:pt idx="26">
                  <c:v>22</c:v>
                </c:pt>
                <c:pt idx="27">
                  <c:v>22</c:v>
                </c:pt>
                <c:pt idx="28">
                  <c:v>23</c:v>
                </c:pt>
                <c:pt idx="29">
                  <c:v>23</c:v>
                </c:pt>
                <c:pt idx="30">
                  <c:v>23</c:v>
                </c:pt>
                <c:pt idx="31">
                  <c:v>23</c:v>
                </c:pt>
                <c:pt idx="32">
                  <c:v>23</c:v>
                </c:pt>
                <c:pt idx="33">
                  <c:v>24</c:v>
                </c:pt>
                <c:pt idx="34">
                  <c:v>24</c:v>
                </c:pt>
                <c:pt idx="35">
                  <c:v>24</c:v>
                </c:pt>
                <c:pt idx="36">
                  <c:v>24</c:v>
                </c:pt>
                <c:pt idx="37">
                  <c:v>24</c:v>
                </c:pt>
                <c:pt idx="38">
                  <c:v>25</c:v>
                </c:pt>
                <c:pt idx="39">
                  <c:v>25</c:v>
                </c:pt>
                <c:pt idx="40">
                  <c:v>25</c:v>
                </c:pt>
              </c:strCache>
            </c:strRef>
          </c:cat>
          <c:val>
            <c:numRef>
              <c:f>Sheet1!$B$2:$B$42</c:f>
              <c:numCache>
                <c:formatCode>General</c:formatCode>
                <c:ptCount val="41"/>
                <c:pt idx="0">
                  <c:v>108.04587773461995</c:v>
                </c:pt>
                <c:pt idx="1">
                  <c:v>107.32254369983454</c:v>
                </c:pt>
                <c:pt idx="2">
                  <c:v>106.61552758633594</c:v>
                </c:pt>
                <c:pt idx="3">
                  <c:v>105.92411793109287</c:v>
                </c:pt>
                <c:pt idx="4">
                  <c:v>105.24764619633775</c:v>
                </c:pt>
                <c:pt idx="5">
                  <c:v>104.58548356595531</c:v>
                </c:pt>
                <c:pt idx="6">
                  <c:v>103.937038025145</c:v>
                </c:pt>
                <c:pt idx="7">
                  <c:v>103.30175169488436</c:v>
                </c:pt>
                <c:pt idx="8">
                  <c:v>102.67909839584037</c:v>
                </c:pt>
                <c:pt idx="9">
                  <c:v>102.28758092443624</c:v>
                </c:pt>
                <c:pt idx="10">
                  <c:v>101.89906182580681</c:v>
                </c:pt>
                <c:pt idx="11">
                  <c:v>101.51349894012256</c:v>
                </c:pt>
                <c:pt idx="12">
                  <c:v>101.1308510872974</c:v>
                </c:pt>
                <c:pt idx="13">
                  <c:v>100.75107803705687</c:v>
                </c:pt>
                <c:pt idx="14">
                  <c:v>100.37414048005557</c:v>
                </c:pt>
                <c:pt idx="15">
                  <c:v>100.0</c:v>
                </c:pt>
                <c:pt idx="16">
                  <c:v>99.62861904674996</c:v>
                </c:pt>
                <c:pt idx="17">
                  <c:v>99.25996091035371</c:v>
                </c:pt>
                <c:pt idx="18">
                  <c:v>98.89398969598567</c:v>
                </c:pt>
                <c:pt idx="19">
                  <c:v>98.53067029975604</c:v>
                </c:pt>
                <c:pt idx="20">
                  <c:v>98.16996838535398</c:v>
                </c:pt>
                <c:pt idx="21">
                  <c:v>97.81185036150055</c:v>
                </c:pt>
                <c:pt idx="22">
                  <c:v>97.45628336017334</c:v>
                </c:pt>
                <c:pt idx="23">
                  <c:v>97.10323521557866</c:v>
                </c:pt>
                <c:pt idx="24">
                  <c:v>96.75267444384413</c:v>
                </c:pt>
                <c:pt idx="25">
                  <c:v>96.40457022339868</c:v>
                </c:pt>
                <c:pt idx="26">
                  <c:v>96.01212444802617</c:v>
                </c:pt>
                <c:pt idx="27">
                  <c:v>95.6222511304222</c:v>
                </c:pt>
                <c:pt idx="28">
                  <c:v>95.2349245493175</c:v>
                </c:pt>
                <c:pt idx="29">
                  <c:v>94.85011935436796</c:v>
                </c:pt>
                <c:pt idx="30">
                  <c:v>94.46781055922993</c:v>
                </c:pt>
                <c:pt idx="31">
                  <c:v>94.0879735347666</c:v>
                </c:pt>
                <c:pt idx="32">
                  <c:v>93.71058400239265</c:v>
                </c:pt>
                <c:pt idx="33">
                  <c:v>93.33561802754183</c:v>
                </c:pt>
                <c:pt idx="34">
                  <c:v>92.96305201326443</c:v>
                </c:pt>
                <c:pt idx="35">
                  <c:v>92.59286269395302</c:v>
                </c:pt>
                <c:pt idx="36">
                  <c:v>92.22502712919452</c:v>
                </c:pt>
                <c:pt idx="37">
                  <c:v>91.85952269773861</c:v>
                </c:pt>
                <c:pt idx="38">
                  <c:v>91.4963270915974</c:v>
                </c:pt>
                <c:pt idx="39">
                  <c:v>91.13541831025742</c:v>
                </c:pt>
                <c:pt idx="40">
                  <c:v>90.7767746550126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2</c:f>
              <c:strCache>
                <c:ptCount val="41"/>
                <c:pt idx="0">
                  <c:v>17</c:v>
                </c:pt>
                <c:pt idx="1">
                  <c:v>17</c:v>
                </c:pt>
                <c:pt idx="2">
                  <c:v>17</c:v>
                </c:pt>
                <c:pt idx="3">
                  <c:v>18</c:v>
                </c:pt>
                <c:pt idx="4">
                  <c:v>18</c:v>
                </c:pt>
                <c:pt idx="5">
                  <c:v>18</c:v>
                </c:pt>
                <c:pt idx="6">
                  <c:v>18</c:v>
                </c:pt>
                <c:pt idx="7">
                  <c:v>18</c:v>
                </c:pt>
                <c:pt idx="8">
                  <c:v>19</c:v>
                </c:pt>
                <c:pt idx="9">
                  <c:v>19</c:v>
                </c:pt>
                <c:pt idx="10">
                  <c:v>19</c:v>
                </c:pt>
                <c:pt idx="11">
                  <c:v>19</c:v>
                </c:pt>
                <c:pt idx="12">
                  <c:v>19</c:v>
                </c:pt>
                <c:pt idx="13">
                  <c:v>20</c:v>
                </c:pt>
                <c:pt idx="14">
                  <c:v>20</c:v>
                </c:pt>
                <c:pt idx="15">
                  <c:v>20</c:v>
                </c:pt>
                <c:pt idx="16">
                  <c:v>20</c:v>
                </c:pt>
                <c:pt idx="17">
                  <c:v>20</c:v>
                </c:pt>
                <c:pt idx="18">
                  <c:v>21</c:v>
                </c:pt>
                <c:pt idx="19">
                  <c:v>21</c:v>
                </c:pt>
                <c:pt idx="20">
                  <c:v>21</c:v>
                </c:pt>
                <c:pt idx="21">
                  <c:v>21</c:v>
                </c:pt>
                <c:pt idx="22">
                  <c:v>21</c:v>
                </c:pt>
                <c:pt idx="23">
                  <c:v>22</c:v>
                </c:pt>
                <c:pt idx="24">
                  <c:v>22</c:v>
                </c:pt>
                <c:pt idx="25">
                  <c:v>22</c:v>
                </c:pt>
                <c:pt idx="26">
                  <c:v>22</c:v>
                </c:pt>
                <c:pt idx="27">
                  <c:v>22</c:v>
                </c:pt>
                <c:pt idx="28">
                  <c:v>23</c:v>
                </c:pt>
                <c:pt idx="29">
                  <c:v>23</c:v>
                </c:pt>
                <c:pt idx="30">
                  <c:v>23</c:v>
                </c:pt>
                <c:pt idx="31">
                  <c:v>23</c:v>
                </c:pt>
                <c:pt idx="32">
                  <c:v>23</c:v>
                </c:pt>
                <c:pt idx="33">
                  <c:v>24</c:v>
                </c:pt>
                <c:pt idx="34">
                  <c:v>24</c:v>
                </c:pt>
                <c:pt idx="35">
                  <c:v>24</c:v>
                </c:pt>
                <c:pt idx="36">
                  <c:v>24</c:v>
                </c:pt>
                <c:pt idx="37">
                  <c:v>24</c:v>
                </c:pt>
                <c:pt idx="38">
                  <c:v>25</c:v>
                </c:pt>
                <c:pt idx="39">
                  <c:v>25</c:v>
                </c:pt>
                <c:pt idx="40">
                  <c:v>25</c:v>
                </c:pt>
              </c:strCache>
            </c:strRef>
          </c:cat>
          <c:val>
            <c:numRef>
              <c:f>Sheet1!$C$2:$C$42</c:f>
              <c:numCache>
                <c:formatCode>General</c:formatCode>
                <c:ptCount val="41"/>
                <c:pt idx="0">
                  <c:v>92.06901880453195</c:v>
                </c:pt>
                <c:pt idx="1">
                  <c:v>92.51377515205712</c:v>
                </c:pt>
                <c:pt idx="2">
                  <c:v>92.95821517241568</c:v>
                </c:pt>
                <c:pt idx="3">
                  <c:v>93.40220254690952</c:v>
                </c:pt>
                <c:pt idx="4">
                  <c:v>93.84561082126548</c:v>
                </c:pt>
                <c:pt idx="5">
                  <c:v>94.28832265637936</c:v>
                </c:pt>
                <c:pt idx="6">
                  <c:v>94.73022914577301</c:v>
                </c:pt>
                <c:pt idx="7">
                  <c:v>95.17122919327218</c:v>
                </c:pt>
                <c:pt idx="8">
                  <c:v>95.61122894505378</c:v>
                </c:pt>
                <c:pt idx="9">
                  <c:v>96.25325958873869</c:v>
                </c:pt>
                <c:pt idx="10">
                  <c:v>96.89018052213217</c:v>
                </c:pt>
                <c:pt idx="11">
                  <c:v>97.52204572843395</c:v>
                </c:pt>
                <c:pt idx="12">
                  <c:v>98.14890835062201</c:v>
                </c:pt>
                <c:pt idx="13">
                  <c:v>98.77082071368577</c:v>
                </c:pt>
                <c:pt idx="14">
                  <c:v>99.38783434601811</c:v>
                </c:pt>
                <c:pt idx="15">
                  <c:v>100.0</c:v>
                </c:pt>
                <c:pt idx="16">
                  <c:v>100.60736767182357</c:v>
                </c:pt>
                <c:pt idx="17">
                  <c:v>101.20998662058017</c:v>
                </c:pt>
                <c:pt idx="18">
                  <c:v>101.80790538665036</c:v>
                </c:pt>
                <c:pt idx="19">
                  <c:v>102.40117180942944</c:v>
                </c:pt>
                <c:pt idx="20">
                  <c:v>102.98983304441111</c:v>
                </c:pt>
                <c:pt idx="21">
                  <c:v>103.57393557966783</c:v>
                </c:pt>
                <c:pt idx="22">
                  <c:v>104.15352525174309</c:v>
                </c:pt>
                <c:pt idx="23">
                  <c:v>104.72864726098837</c:v>
                </c:pt>
                <c:pt idx="24">
                  <c:v>105.29934618636823</c:v>
                </c:pt>
                <c:pt idx="25">
                  <c:v>105.86566599975151</c:v>
                </c:pt>
                <c:pt idx="26">
                  <c:v>106.3765901746418</c:v>
                </c:pt>
                <c:pt idx="27">
                  <c:v>106.88252793935813</c:v>
                </c:pt>
                <c:pt idx="28">
                  <c:v>107.38353059897857</c:v>
                </c:pt>
                <c:pt idx="29">
                  <c:v>107.87964876748973</c:v>
                </c:pt>
                <c:pt idx="30">
                  <c:v>108.37093238043217</c:v>
                </c:pt>
                <c:pt idx="31">
                  <c:v>108.85743070722673</c:v>
                </c:pt>
                <c:pt idx="32">
                  <c:v>109.33919236320253</c:v>
                </c:pt>
                <c:pt idx="33">
                  <c:v>109.81626532132016</c:v>
                </c:pt>
                <c:pt idx="34">
                  <c:v>110.28869692360807</c:v>
                </c:pt>
                <c:pt idx="35">
                  <c:v>110.75653389231985</c:v>
                </c:pt>
                <c:pt idx="36">
                  <c:v>111.21982234082279</c:v>
                </c:pt>
                <c:pt idx="37">
                  <c:v>111.67860778421374</c:v>
                </c:pt>
                <c:pt idx="38">
                  <c:v>112.13293514969051</c:v>
                </c:pt>
                <c:pt idx="39">
                  <c:v>112.58284878666707</c:v>
                </c:pt>
                <c:pt idx="40">
                  <c:v>113.0283924766501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2</c:f>
              <c:strCache>
                <c:ptCount val="41"/>
                <c:pt idx="0">
                  <c:v>17</c:v>
                </c:pt>
                <c:pt idx="1">
                  <c:v>17</c:v>
                </c:pt>
                <c:pt idx="2">
                  <c:v>17</c:v>
                </c:pt>
                <c:pt idx="3">
                  <c:v>18</c:v>
                </c:pt>
                <c:pt idx="4">
                  <c:v>18</c:v>
                </c:pt>
                <c:pt idx="5">
                  <c:v>18</c:v>
                </c:pt>
                <c:pt idx="6">
                  <c:v>18</c:v>
                </c:pt>
                <c:pt idx="7">
                  <c:v>18</c:v>
                </c:pt>
                <c:pt idx="8">
                  <c:v>19</c:v>
                </c:pt>
                <c:pt idx="9">
                  <c:v>19</c:v>
                </c:pt>
                <c:pt idx="10">
                  <c:v>19</c:v>
                </c:pt>
                <c:pt idx="11">
                  <c:v>19</c:v>
                </c:pt>
                <c:pt idx="12">
                  <c:v>19</c:v>
                </c:pt>
                <c:pt idx="13">
                  <c:v>20</c:v>
                </c:pt>
                <c:pt idx="14">
                  <c:v>20</c:v>
                </c:pt>
                <c:pt idx="15">
                  <c:v>20</c:v>
                </c:pt>
                <c:pt idx="16">
                  <c:v>20</c:v>
                </c:pt>
                <c:pt idx="17">
                  <c:v>20</c:v>
                </c:pt>
                <c:pt idx="18">
                  <c:v>21</c:v>
                </c:pt>
                <c:pt idx="19">
                  <c:v>21</c:v>
                </c:pt>
                <c:pt idx="20">
                  <c:v>21</c:v>
                </c:pt>
                <c:pt idx="21">
                  <c:v>21</c:v>
                </c:pt>
                <c:pt idx="22">
                  <c:v>21</c:v>
                </c:pt>
                <c:pt idx="23">
                  <c:v>22</c:v>
                </c:pt>
                <c:pt idx="24">
                  <c:v>22</c:v>
                </c:pt>
                <c:pt idx="25">
                  <c:v>22</c:v>
                </c:pt>
                <c:pt idx="26">
                  <c:v>22</c:v>
                </c:pt>
                <c:pt idx="27">
                  <c:v>22</c:v>
                </c:pt>
                <c:pt idx="28">
                  <c:v>23</c:v>
                </c:pt>
                <c:pt idx="29">
                  <c:v>23</c:v>
                </c:pt>
                <c:pt idx="30">
                  <c:v>23</c:v>
                </c:pt>
                <c:pt idx="31">
                  <c:v>23</c:v>
                </c:pt>
                <c:pt idx="32">
                  <c:v>23</c:v>
                </c:pt>
                <c:pt idx="33">
                  <c:v>24</c:v>
                </c:pt>
                <c:pt idx="34">
                  <c:v>24</c:v>
                </c:pt>
                <c:pt idx="35">
                  <c:v>24</c:v>
                </c:pt>
                <c:pt idx="36">
                  <c:v>24</c:v>
                </c:pt>
                <c:pt idx="37">
                  <c:v>24</c:v>
                </c:pt>
                <c:pt idx="38">
                  <c:v>25</c:v>
                </c:pt>
                <c:pt idx="39">
                  <c:v>25</c:v>
                </c:pt>
                <c:pt idx="40">
                  <c:v>25</c:v>
                </c:pt>
              </c:strCache>
            </c:strRef>
          </c:cat>
          <c:val>
            <c:numRef>
              <c:f>Sheet1!$D$2:$D$42</c:f>
              <c:numCache>
                <c:formatCode>General</c:formatCode>
                <c:ptCount val="41"/>
                <c:pt idx="0">
                  <c:v>79.25546198148005</c:v>
                </c:pt>
                <c:pt idx="1">
                  <c:v>80.631382472016</c:v>
                </c:pt>
                <c:pt idx="2">
                  <c:v>81.9941534188594</c:v>
                </c:pt>
                <c:pt idx="3">
                  <c:v>83.34408465292454</c:v>
                </c:pt>
                <c:pt idx="4">
                  <c:v>84.68146998785771</c:v>
                </c:pt>
                <c:pt idx="5">
                  <c:v>86.00658839821473</c:v>
                </c:pt>
                <c:pt idx="6">
                  <c:v>87.31970509416352</c:v>
                </c:pt>
                <c:pt idx="7">
                  <c:v>88.62107250350965</c:v>
                </c:pt>
                <c:pt idx="8">
                  <c:v>89.91093117052962</c:v>
                </c:pt>
                <c:pt idx="9">
                  <c:v>91.38516782754544</c:v>
                </c:pt>
                <c:pt idx="10">
                  <c:v>92.84822645744099</c:v>
                </c:pt>
                <c:pt idx="11">
                  <c:v>94.3002276882679</c:v>
                </c:pt>
                <c:pt idx="12">
                  <c:v>95.74129007984541</c:v>
                </c:pt>
                <c:pt idx="13">
                  <c:v>97.17153018191527</c:v>
                </c:pt>
                <c:pt idx="14">
                  <c:v>98.59106259013507</c:v>
                </c:pt>
                <c:pt idx="15">
                  <c:v>100.0</c:v>
                </c:pt>
                <c:pt idx="16">
                  <c:v>101.39845325878865</c:v>
                </c:pt>
                <c:pt idx="17">
                  <c:v>102.78653141560842</c:v>
                </c:pt>
                <c:pt idx="18">
                  <c:v>104.16434176962504</c:v>
                </c:pt>
                <c:pt idx="19">
                  <c:v>105.53198991655341</c:v>
                </c:pt>
                <c:pt idx="20">
                  <c:v>106.88957979347882</c:v>
                </c:pt>
                <c:pt idx="21">
                  <c:v>108.23721372208419</c:v>
                </c:pt>
                <c:pt idx="22">
                  <c:v>109.57499245034177</c:v>
                </c:pt>
                <c:pt idx="23">
                  <c:v>110.90301519273767</c:v>
                </c:pt>
                <c:pt idx="24">
                  <c:v>112.22137966909081</c:v>
                </c:pt>
                <c:pt idx="25">
                  <c:v>113.53018214201727</c:v>
                </c:pt>
                <c:pt idx="26">
                  <c:v>114.77361072264594</c:v>
                </c:pt>
                <c:pt idx="27">
                  <c:v>116.00621707539153</c:v>
                </c:pt>
                <c:pt idx="28">
                  <c:v>117.22810663286867</c:v>
                </c:pt>
                <c:pt idx="29">
                  <c:v>118.43938346318336</c:v>
                </c:pt>
                <c:pt idx="30">
                  <c:v>119.6401502941093</c:v>
                </c:pt>
                <c:pt idx="31">
                  <c:v>120.83050853669471</c:v>
                </c:pt>
                <c:pt idx="32">
                  <c:v>122.01055830832411</c:v>
                </c:pt>
                <c:pt idx="33">
                  <c:v>123.18039845523418</c:v>
                </c:pt>
                <c:pt idx="34">
                  <c:v>124.34012657450666</c:v>
                </c:pt>
                <c:pt idx="35">
                  <c:v>125.48983903555195</c:v>
                </c:pt>
                <c:pt idx="36">
                  <c:v>126.62963100109846</c:v>
                </c:pt>
                <c:pt idx="37">
                  <c:v>127.75959644768821</c:v>
                </c:pt>
                <c:pt idx="38">
                  <c:v>128.8798281857142</c:v>
                </c:pt>
                <c:pt idx="39">
                  <c:v>129.99041787898844</c:v>
                </c:pt>
                <c:pt idx="40">
                  <c:v>131.0914560638696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2</c:f>
              <c:strCache>
                <c:ptCount val="41"/>
                <c:pt idx="0">
                  <c:v>17</c:v>
                </c:pt>
                <c:pt idx="1">
                  <c:v>17</c:v>
                </c:pt>
                <c:pt idx="2">
                  <c:v>17</c:v>
                </c:pt>
                <c:pt idx="3">
                  <c:v>18</c:v>
                </c:pt>
                <c:pt idx="4">
                  <c:v>18</c:v>
                </c:pt>
                <c:pt idx="5">
                  <c:v>18</c:v>
                </c:pt>
                <c:pt idx="6">
                  <c:v>18</c:v>
                </c:pt>
                <c:pt idx="7">
                  <c:v>18</c:v>
                </c:pt>
                <c:pt idx="8">
                  <c:v>19</c:v>
                </c:pt>
                <c:pt idx="9">
                  <c:v>19</c:v>
                </c:pt>
                <c:pt idx="10">
                  <c:v>19</c:v>
                </c:pt>
                <c:pt idx="11">
                  <c:v>19</c:v>
                </c:pt>
                <c:pt idx="12">
                  <c:v>19</c:v>
                </c:pt>
                <c:pt idx="13">
                  <c:v>20</c:v>
                </c:pt>
                <c:pt idx="14">
                  <c:v>20</c:v>
                </c:pt>
                <c:pt idx="15">
                  <c:v>20</c:v>
                </c:pt>
                <c:pt idx="16">
                  <c:v>20</c:v>
                </c:pt>
                <c:pt idx="17">
                  <c:v>20</c:v>
                </c:pt>
                <c:pt idx="18">
                  <c:v>21</c:v>
                </c:pt>
                <c:pt idx="19">
                  <c:v>21</c:v>
                </c:pt>
                <c:pt idx="20">
                  <c:v>21</c:v>
                </c:pt>
                <c:pt idx="21">
                  <c:v>21</c:v>
                </c:pt>
                <c:pt idx="22">
                  <c:v>21</c:v>
                </c:pt>
                <c:pt idx="23">
                  <c:v>22</c:v>
                </c:pt>
                <c:pt idx="24">
                  <c:v>22</c:v>
                </c:pt>
                <c:pt idx="25">
                  <c:v>22</c:v>
                </c:pt>
                <c:pt idx="26">
                  <c:v>22</c:v>
                </c:pt>
                <c:pt idx="27">
                  <c:v>22</c:v>
                </c:pt>
                <c:pt idx="28">
                  <c:v>23</c:v>
                </c:pt>
                <c:pt idx="29">
                  <c:v>23</c:v>
                </c:pt>
                <c:pt idx="30">
                  <c:v>23</c:v>
                </c:pt>
                <c:pt idx="31">
                  <c:v>23</c:v>
                </c:pt>
                <c:pt idx="32">
                  <c:v>23</c:v>
                </c:pt>
                <c:pt idx="33">
                  <c:v>24</c:v>
                </c:pt>
                <c:pt idx="34">
                  <c:v>24</c:v>
                </c:pt>
                <c:pt idx="35">
                  <c:v>24</c:v>
                </c:pt>
                <c:pt idx="36">
                  <c:v>24</c:v>
                </c:pt>
                <c:pt idx="37">
                  <c:v>24</c:v>
                </c:pt>
                <c:pt idx="38">
                  <c:v>25</c:v>
                </c:pt>
                <c:pt idx="39">
                  <c:v>25</c:v>
                </c:pt>
                <c:pt idx="40">
                  <c:v>25</c:v>
                </c:pt>
              </c:strCache>
            </c:strRef>
          </c:cat>
          <c:val>
            <c:numRef>
              <c:f>Sheet1!$E$2:$E$42</c:f>
              <c:numCache>
                <c:formatCode>General</c:formatCode>
                <c:ptCount val="41"/>
                <c:pt idx="0">
                  <c:v>0.4866544263009643</c:v>
                </c:pt>
                <c:pt idx="1">
                  <c:v>0.4926339903510404</c:v>
                </c:pt>
                <c:pt idx="2">
                  <c:v>0.49847585574711367</c:v>
                </c:pt>
                <c:pt idx="3">
                  <c:v>0.5041847247767424</c:v>
                </c:pt>
                <c:pt idx="4">
                  <c:v>0.5097650880319282</c:v>
                </c:pt>
                <c:pt idx="5">
                  <c:v>0.515221236189614</c:v>
                </c:pt>
                <c:pt idx="6">
                  <c:v>0.5205572710141643</c:v>
                </c:pt>
                <c:pt idx="7">
                  <c:v>0.5257771156411194</c:v>
                </c:pt>
                <c:pt idx="8">
                  <c:v>0.5308845241964115</c:v>
                </c:pt>
                <c:pt idx="9">
                  <c:v>0.5358830908006055</c:v>
                </c:pt>
                <c:pt idx="10">
                  <c:v>0.5407762580035511</c:v>
                </c:pt>
                <c:pt idx="11">
                  <c:v>0.5455673246910467</c:v>
                </c:pt>
                <c:pt idx="12">
                  <c:v>0.5502594535016708</c:v>
                </c:pt>
                <c:pt idx="13">
                  <c:v>0.554855677788828</c:v>
                </c:pt>
                <c:pt idx="14">
                  <c:v>0.5593589081602106</c:v>
                </c:pt>
                <c:pt idx="15">
                  <c:v>0.5637719386243046</c:v>
                </c:pt>
                <c:pt idx="16">
                  <c:v>0.5680974523712128</c:v>
                </c:pt>
                <c:pt idx="17">
                  <c:v>0.572338027212929</c:v>
                </c:pt>
                <c:pt idx="18">
                  <c:v>0.5764961407062406</c:v>
                </c:pt>
                <c:pt idx="19">
                  <c:v>0.5805741749796517</c:v>
                </c:pt>
                <c:pt idx="20">
                  <c:v>0.5845744212840899</c:v>
                </c:pt>
                <c:pt idx="21">
                  <c:v>0.5884990842856572</c:v>
                </c:pt>
                <c:pt idx="22">
                  <c:v>0.5923502861173311</c:v>
                </c:pt>
                <c:pt idx="23">
                  <c:v>0.5961300702052555</c:v>
                </c:pt>
                <c:pt idx="24">
                  <c:v>0.5998404048841233</c:v>
                </c:pt>
                <c:pt idx="25">
                  <c:v>0.6034831868150824</c:v>
                </c:pt>
                <c:pt idx="26">
                  <c:v>0.6070602442186452</c:v>
                </c:pt>
                <c:pt idx="27">
                  <c:v>0.6105733399341693</c:v>
                </c:pt>
                <c:pt idx="28">
                  <c:v>0.6140241743166754</c:v>
                </c:pt>
                <c:pt idx="29">
                  <c:v>0.6174143879809998</c:v>
                </c:pt>
                <c:pt idx="30">
                  <c:v>0.6207455644025844</c:v>
                </c:pt>
                <c:pt idx="31">
                  <c:v>0.624019232383572</c:v>
                </c:pt>
                <c:pt idx="32">
                  <c:v>0.6272368683922706</c:v>
                </c:pt>
                <c:pt idx="33">
                  <c:v>0.6303998987835113</c:v>
                </c:pt>
                <c:pt idx="34">
                  <c:v>0.6335097019069148</c:v>
                </c:pt>
                <c:pt idx="35">
                  <c:v>0.6365676101096105</c:v>
                </c:pt>
                <c:pt idx="36">
                  <c:v>0.6395749116395267</c:v>
                </c:pt>
                <c:pt idx="37">
                  <c:v>0.6425328524549596</c:v>
                </c:pt>
                <c:pt idx="38">
                  <c:v>0.6454426379457617</c:v>
                </c:pt>
                <c:pt idx="39">
                  <c:v>0.6483054345711492</c:v>
                </c:pt>
                <c:pt idx="40">
                  <c:v>0.651122371418797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2</c:f>
              <c:strCache>
                <c:ptCount val="41"/>
                <c:pt idx="0">
                  <c:v>17</c:v>
                </c:pt>
                <c:pt idx="1">
                  <c:v>17</c:v>
                </c:pt>
                <c:pt idx="2">
                  <c:v>17</c:v>
                </c:pt>
                <c:pt idx="3">
                  <c:v>18</c:v>
                </c:pt>
                <c:pt idx="4">
                  <c:v>18</c:v>
                </c:pt>
                <c:pt idx="5">
                  <c:v>18</c:v>
                </c:pt>
                <c:pt idx="6">
                  <c:v>18</c:v>
                </c:pt>
                <c:pt idx="7">
                  <c:v>18</c:v>
                </c:pt>
                <c:pt idx="8">
                  <c:v>19</c:v>
                </c:pt>
                <c:pt idx="9">
                  <c:v>19</c:v>
                </c:pt>
                <c:pt idx="10">
                  <c:v>19</c:v>
                </c:pt>
                <c:pt idx="11">
                  <c:v>19</c:v>
                </c:pt>
                <c:pt idx="12">
                  <c:v>19</c:v>
                </c:pt>
                <c:pt idx="13">
                  <c:v>20</c:v>
                </c:pt>
                <c:pt idx="14">
                  <c:v>20</c:v>
                </c:pt>
                <c:pt idx="15">
                  <c:v>20</c:v>
                </c:pt>
                <c:pt idx="16">
                  <c:v>20</c:v>
                </c:pt>
                <c:pt idx="17">
                  <c:v>20</c:v>
                </c:pt>
                <c:pt idx="18">
                  <c:v>21</c:v>
                </c:pt>
                <c:pt idx="19">
                  <c:v>21</c:v>
                </c:pt>
                <c:pt idx="20">
                  <c:v>21</c:v>
                </c:pt>
                <c:pt idx="21">
                  <c:v>21</c:v>
                </c:pt>
                <c:pt idx="22">
                  <c:v>21</c:v>
                </c:pt>
                <c:pt idx="23">
                  <c:v>22</c:v>
                </c:pt>
                <c:pt idx="24">
                  <c:v>22</c:v>
                </c:pt>
                <c:pt idx="25">
                  <c:v>22</c:v>
                </c:pt>
                <c:pt idx="26">
                  <c:v>22</c:v>
                </c:pt>
                <c:pt idx="27">
                  <c:v>22</c:v>
                </c:pt>
                <c:pt idx="28">
                  <c:v>23</c:v>
                </c:pt>
                <c:pt idx="29">
                  <c:v>23</c:v>
                </c:pt>
                <c:pt idx="30">
                  <c:v>23</c:v>
                </c:pt>
                <c:pt idx="31">
                  <c:v>23</c:v>
                </c:pt>
                <c:pt idx="32">
                  <c:v>23</c:v>
                </c:pt>
                <c:pt idx="33">
                  <c:v>24</c:v>
                </c:pt>
                <c:pt idx="34">
                  <c:v>24</c:v>
                </c:pt>
                <c:pt idx="35">
                  <c:v>24</c:v>
                </c:pt>
                <c:pt idx="36">
                  <c:v>24</c:v>
                </c:pt>
                <c:pt idx="37">
                  <c:v>24</c:v>
                </c:pt>
                <c:pt idx="38">
                  <c:v>25</c:v>
                </c:pt>
                <c:pt idx="39">
                  <c:v>25</c:v>
                </c:pt>
                <c:pt idx="40">
                  <c:v>25</c:v>
                </c:pt>
              </c:strCache>
            </c:strRef>
          </c:cat>
          <c:val>
            <c:numRef>
              <c:f>Sheet1!$B$2:$B$42</c:f>
              <c:numCache>
                <c:formatCode>General</c:formatCode>
                <c:ptCount val="41"/>
                <c:pt idx="0">
                  <c:v>105.96310786563048</c:v>
                </c:pt>
                <c:pt idx="1">
                  <c:v>105.47549293361563</c:v>
                </c:pt>
                <c:pt idx="2">
                  <c:v>104.99658435896875</c:v>
                </c:pt>
                <c:pt idx="3">
                  <c:v>104.52606883299292</c:v>
                </c:pt>
                <c:pt idx="4">
                  <c:v>104.06364928337268</c:v>
                </c:pt>
                <c:pt idx="5">
                  <c:v>103.60904380147761</c:v>
                </c:pt>
                <c:pt idx="6">
                  <c:v>103.16198465586433</c:v>
                </c:pt>
                <c:pt idx="7">
                  <c:v>102.72221738384832</c:v>
                </c:pt>
                <c:pt idx="8">
                  <c:v>102.28949995388517</c:v>
                </c:pt>
                <c:pt idx="9">
                  <c:v>101.95479855895503</c:v>
                </c:pt>
                <c:pt idx="10">
                  <c:v>101.62270202693556</c:v>
                </c:pt>
                <c:pt idx="11">
                  <c:v>101.2931725924549</c:v>
                </c:pt>
                <c:pt idx="12">
                  <c:v>100.96617334818903</c:v>
                </c:pt>
                <c:pt idx="13">
                  <c:v>100.64166821813299</c:v>
                </c:pt>
                <c:pt idx="14">
                  <c:v>100.31962193189811</c:v>
                </c:pt>
                <c:pt idx="15">
                  <c:v>100.0</c:v>
                </c:pt>
                <c:pt idx="16">
                  <c:v>99.68276869008552</c:v>
                </c:pt>
                <c:pt idx="17">
                  <c:v>99.36789500406422</c:v>
                </c:pt>
                <c:pt idx="18">
                  <c:v>99.05534665610787</c:v>
                </c:pt>
                <c:pt idx="19">
                  <c:v>98.74509205146923</c:v>
                </c:pt>
                <c:pt idx="20">
                  <c:v>98.43710026609685</c:v>
                </c:pt>
                <c:pt idx="21">
                  <c:v>98.1313410270079</c:v>
                </c:pt>
                <c:pt idx="22">
                  <c:v>97.82778469338041</c:v>
                </c:pt>
                <c:pt idx="23">
                  <c:v>97.52640223834254</c:v>
                </c:pt>
                <c:pt idx="24">
                  <c:v>97.22716523142104</c:v>
                </c:pt>
                <c:pt idx="25">
                  <c:v>96.93004582162801</c:v>
                </c:pt>
                <c:pt idx="26">
                  <c:v>96.59754206492944</c:v>
                </c:pt>
                <c:pt idx="27">
                  <c:v>96.26707200809948</c:v>
                </c:pt>
                <c:pt idx="28">
                  <c:v>95.93861636934113</c:v>
                </c:pt>
                <c:pt idx="29">
                  <c:v>95.61215611458296</c:v>
                </c:pt>
                <c:pt idx="30">
                  <c:v>95.28767245332764</c:v>
                </c:pt>
                <c:pt idx="31">
                  <c:v>94.96514683457978</c:v>
                </c:pt>
                <c:pt idx="32">
                  <c:v>94.64456094286717</c:v>
                </c:pt>
                <c:pt idx="33">
                  <c:v>94.3258966943372</c:v>
                </c:pt>
                <c:pt idx="34">
                  <c:v>94.00913623293671</c:v>
                </c:pt>
                <c:pt idx="35">
                  <c:v>93.69426192667308</c:v>
                </c:pt>
                <c:pt idx="36">
                  <c:v>93.3812563639507</c:v>
                </c:pt>
                <c:pt idx="37">
                  <c:v>93.07010234998448</c:v>
                </c:pt>
                <c:pt idx="38">
                  <c:v>92.76078290328932</c:v>
                </c:pt>
                <c:pt idx="39">
                  <c:v>92.4532812522388</c:v>
                </c:pt>
                <c:pt idx="40">
                  <c:v>92.1475808317002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2</c:f>
              <c:strCache>
                <c:ptCount val="41"/>
                <c:pt idx="0">
                  <c:v>17</c:v>
                </c:pt>
                <c:pt idx="1">
                  <c:v>17</c:v>
                </c:pt>
                <c:pt idx="2">
                  <c:v>17</c:v>
                </c:pt>
                <c:pt idx="3">
                  <c:v>18</c:v>
                </c:pt>
                <c:pt idx="4">
                  <c:v>18</c:v>
                </c:pt>
                <c:pt idx="5">
                  <c:v>18</c:v>
                </c:pt>
                <c:pt idx="6">
                  <c:v>18</c:v>
                </c:pt>
                <c:pt idx="7">
                  <c:v>18</c:v>
                </c:pt>
                <c:pt idx="8">
                  <c:v>19</c:v>
                </c:pt>
                <c:pt idx="9">
                  <c:v>19</c:v>
                </c:pt>
                <c:pt idx="10">
                  <c:v>19</c:v>
                </c:pt>
                <c:pt idx="11">
                  <c:v>19</c:v>
                </c:pt>
                <c:pt idx="12">
                  <c:v>19</c:v>
                </c:pt>
                <c:pt idx="13">
                  <c:v>20</c:v>
                </c:pt>
                <c:pt idx="14">
                  <c:v>20</c:v>
                </c:pt>
                <c:pt idx="15">
                  <c:v>20</c:v>
                </c:pt>
                <c:pt idx="16">
                  <c:v>20</c:v>
                </c:pt>
                <c:pt idx="17">
                  <c:v>20</c:v>
                </c:pt>
                <c:pt idx="18">
                  <c:v>21</c:v>
                </c:pt>
                <c:pt idx="19">
                  <c:v>21</c:v>
                </c:pt>
                <c:pt idx="20">
                  <c:v>21</c:v>
                </c:pt>
                <c:pt idx="21">
                  <c:v>21</c:v>
                </c:pt>
                <c:pt idx="22">
                  <c:v>21</c:v>
                </c:pt>
                <c:pt idx="23">
                  <c:v>22</c:v>
                </c:pt>
                <c:pt idx="24">
                  <c:v>22</c:v>
                </c:pt>
                <c:pt idx="25">
                  <c:v>22</c:v>
                </c:pt>
                <c:pt idx="26">
                  <c:v>22</c:v>
                </c:pt>
                <c:pt idx="27">
                  <c:v>22</c:v>
                </c:pt>
                <c:pt idx="28">
                  <c:v>23</c:v>
                </c:pt>
                <c:pt idx="29">
                  <c:v>23</c:v>
                </c:pt>
                <c:pt idx="30">
                  <c:v>23</c:v>
                </c:pt>
                <c:pt idx="31">
                  <c:v>23</c:v>
                </c:pt>
                <c:pt idx="32">
                  <c:v>23</c:v>
                </c:pt>
                <c:pt idx="33">
                  <c:v>24</c:v>
                </c:pt>
                <c:pt idx="34">
                  <c:v>24</c:v>
                </c:pt>
                <c:pt idx="35">
                  <c:v>24</c:v>
                </c:pt>
                <c:pt idx="36">
                  <c:v>24</c:v>
                </c:pt>
                <c:pt idx="37">
                  <c:v>24</c:v>
                </c:pt>
                <c:pt idx="38">
                  <c:v>25</c:v>
                </c:pt>
                <c:pt idx="39">
                  <c:v>25</c:v>
                </c:pt>
                <c:pt idx="40">
                  <c:v>25</c:v>
                </c:pt>
              </c:strCache>
            </c:strRef>
          </c:cat>
          <c:val>
            <c:numRef>
              <c:f>Sheet1!$C$2:$C$42</c:f>
              <c:numCache>
                <c:formatCode>General</c:formatCode>
                <c:ptCount val="41"/>
                <c:pt idx="0">
                  <c:v>90.38334190882154</c:v>
                </c:pt>
                <c:pt idx="1">
                  <c:v>91.00466065785757</c:v>
                </c:pt>
                <c:pt idx="2">
                  <c:v>91.62361570316565</c:v>
                </c:pt>
                <c:pt idx="3">
                  <c:v>92.24019503381923</c:v>
                </c:pt>
                <c:pt idx="4">
                  <c:v>92.8543885605773</c:v>
                </c:pt>
                <c:pt idx="5">
                  <c:v>93.46618795899872</c:v>
                </c:pt>
                <c:pt idx="6">
                  <c:v>94.07558652697398</c:v>
                </c:pt>
                <c:pt idx="7">
                  <c:v>94.68257905519326</c:v>
                </c:pt>
                <c:pt idx="8">
                  <c:v>95.28716170923252</c:v>
                </c:pt>
                <c:pt idx="9">
                  <c:v>95.97349292718546</c:v>
                </c:pt>
                <c:pt idx="10">
                  <c:v>96.65539082543242</c:v>
                </c:pt>
                <c:pt idx="11">
                  <c:v>97.33290245111665</c:v>
                </c:pt>
                <c:pt idx="12">
                  <c:v>98.00607406349914</c:v>
                </c:pt>
                <c:pt idx="13">
                  <c:v>98.67495115345838</c:v>
                </c:pt>
                <c:pt idx="14">
                  <c:v>99.33957846231185</c:v>
                </c:pt>
                <c:pt idx="15">
                  <c:v>100.0</c:v>
                </c:pt>
                <c:pt idx="16">
                  <c:v>100.65625906265456</c:v>
                </c:pt>
                <c:pt idx="17">
                  <c:v>101.30839824958208</c:v>
                </c:pt>
                <c:pt idx="18">
                  <c:v>101.95645947969503</c:v>
                </c:pt>
                <c:pt idx="19">
                  <c:v>102.60048400739991</c:v>
                </c:pt>
                <c:pt idx="20">
                  <c:v>103.24051243798276</c:v>
                </c:pt>
                <c:pt idx="21">
                  <c:v>103.87658474250394</c:v>
                </c:pt>
                <c:pt idx="22">
                  <c:v>104.50874027222304</c:v>
                </c:pt>
                <c:pt idx="23">
                  <c:v>105.13701777257755</c:v>
                </c:pt>
                <c:pt idx="24">
                  <c:v>105.76145539672761</c:v>
                </c:pt>
                <c:pt idx="25">
                  <c:v>106.3820907186924</c:v>
                </c:pt>
                <c:pt idx="26">
                  <c:v>106.95810169695135</c:v>
                </c:pt>
                <c:pt idx="27">
                  <c:v>107.52965077627795</c:v>
                </c:pt>
                <c:pt idx="28">
                  <c:v>108.09678131797615</c:v>
                </c:pt>
                <c:pt idx="29">
                  <c:v>108.65953610227656</c:v>
                </c:pt>
                <c:pt idx="30">
                  <c:v>109.21795733803891</c:v>
                </c:pt>
                <c:pt idx="31">
                  <c:v>109.772086672247</c:v>
                </c:pt>
                <c:pt idx="32">
                  <c:v>110.32196519931668</c:v>
                </c:pt>
                <c:pt idx="33">
                  <c:v>110.8676334702059</c:v>
                </c:pt>
                <c:pt idx="34">
                  <c:v>111.40913150134195</c:v>
                </c:pt>
                <c:pt idx="35">
                  <c:v>111.94649878337034</c:v>
                </c:pt>
                <c:pt idx="36">
                  <c:v>112.4797742897258</c:v>
                </c:pt>
                <c:pt idx="37">
                  <c:v>113.00899648503355</c:v>
                </c:pt>
                <c:pt idx="38">
                  <c:v>113.53420333334587</c:v>
                </c:pt>
                <c:pt idx="39">
                  <c:v>114.05543230621255</c:v>
                </c:pt>
                <c:pt idx="40">
                  <c:v>114.5727203906004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2</c:f>
              <c:strCache>
                <c:ptCount val="41"/>
                <c:pt idx="0">
                  <c:v>17</c:v>
                </c:pt>
                <c:pt idx="1">
                  <c:v>17</c:v>
                </c:pt>
                <c:pt idx="2">
                  <c:v>17</c:v>
                </c:pt>
                <c:pt idx="3">
                  <c:v>18</c:v>
                </c:pt>
                <c:pt idx="4">
                  <c:v>18</c:v>
                </c:pt>
                <c:pt idx="5">
                  <c:v>18</c:v>
                </c:pt>
                <c:pt idx="6">
                  <c:v>18</c:v>
                </c:pt>
                <c:pt idx="7">
                  <c:v>18</c:v>
                </c:pt>
                <c:pt idx="8">
                  <c:v>19</c:v>
                </c:pt>
                <c:pt idx="9">
                  <c:v>19</c:v>
                </c:pt>
                <c:pt idx="10">
                  <c:v>19</c:v>
                </c:pt>
                <c:pt idx="11">
                  <c:v>19</c:v>
                </c:pt>
                <c:pt idx="12">
                  <c:v>19</c:v>
                </c:pt>
                <c:pt idx="13">
                  <c:v>20</c:v>
                </c:pt>
                <c:pt idx="14">
                  <c:v>20</c:v>
                </c:pt>
                <c:pt idx="15">
                  <c:v>20</c:v>
                </c:pt>
                <c:pt idx="16">
                  <c:v>20</c:v>
                </c:pt>
                <c:pt idx="17">
                  <c:v>20</c:v>
                </c:pt>
                <c:pt idx="18">
                  <c:v>21</c:v>
                </c:pt>
                <c:pt idx="19">
                  <c:v>21</c:v>
                </c:pt>
                <c:pt idx="20">
                  <c:v>21</c:v>
                </c:pt>
                <c:pt idx="21">
                  <c:v>21</c:v>
                </c:pt>
                <c:pt idx="22">
                  <c:v>21</c:v>
                </c:pt>
                <c:pt idx="23">
                  <c:v>22</c:v>
                </c:pt>
                <c:pt idx="24">
                  <c:v>22</c:v>
                </c:pt>
                <c:pt idx="25">
                  <c:v>22</c:v>
                </c:pt>
                <c:pt idx="26">
                  <c:v>22</c:v>
                </c:pt>
                <c:pt idx="27">
                  <c:v>22</c:v>
                </c:pt>
                <c:pt idx="28">
                  <c:v>23</c:v>
                </c:pt>
                <c:pt idx="29">
                  <c:v>23</c:v>
                </c:pt>
                <c:pt idx="30">
                  <c:v>23</c:v>
                </c:pt>
                <c:pt idx="31">
                  <c:v>23</c:v>
                </c:pt>
                <c:pt idx="32">
                  <c:v>23</c:v>
                </c:pt>
                <c:pt idx="33">
                  <c:v>24</c:v>
                </c:pt>
                <c:pt idx="34">
                  <c:v>24</c:v>
                </c:pt>
                <c:pt idx="35">
                  <c:v>24</c:v>
                </c:pt>
                <c:pt idx="36">
                  <c:v>24</c:v>
                </c:pt>
                <c:pt idx="37">
                  <c:v>24</c:v>
                </c:pt>
                <c:pt idx="38">
                  <c:v>25</c:v>
                </c:pt>
                <c:pt idx="39">
                  <c:v>25</c:v>
                </c:pt>
                <c:pt idx="40">
                  <c:v>25</c:v>
                </c:pt>
              </c:strCache>
            </c:strRef>
          </c:cat>
          <c:val>
            <c:numRef>
              <c:f>Sheet1!$D$2:$D$42</c:f>
              <c:numCache>
                <c:formatCode>General</c:formatCode>
                <c:ptCount val="41"/>
                <c:pt idx="0">
                  <c:v>69.61385532167661</c:v>
                </c:pt>
                <c:pt idx="1">
                  <c:v>71.70564246461852</c:v>
                </c:pt>
                <c:pt idx="2">
                  <c:v>73.78124492376763</c:v>
                </c:pt>
                <c:pt idx="3">
                  <c:v>75.84103269188496</c:v>
                </c:pt>
                <c:pt idx="4">
                  <c:v>77.88535925330055</c:v>
                </c:pt>
                <c:pt idx="5">
                  <c:v>79.91456261309263</c:v>
                </c:pt>
                <c:pt idx="6">
                  <c:v>81.92896624753327</c:v>
                </c:pt>
                <c:pt idx="7">
                  <c:v>83.92887998295959</c:v>
                </c:pt>
                <c:pt idx="8">
                  <c:v>85.9146008094685</c:v>
                </c:pt>
                <c:pt idx="9">
                  <c:v>87.96509668804782</c:v>
                </c:pt>
                <c:pt idx="10">
                  <c:v>90.00259091914565</c:v>
                </c:pt>
                <c:pt idx="11">
                  <c:v>92.02722790483669</c:v>
                </c:pt>
                <c:pt idx="12">
                  <c:v>94.03914939173082</c:v>
                </c:pt>
                <c:pt idx="13">
                  <c:v>96.03849454358122</c:v>
                </c:pt>
                <c:pt idx="14">
                  <c:v>98.02540001122708</c:v>
                </c:pt>
                <c:pt idx="15">
                  <c:v>100.0</c:v>
                </c:pt>
                <c:pt idx="16">
                  <c:v>101.96242633470098</c:v>
                </c:pt>
                <c:pt idx="17">
                  <c:v>103.91280852225964</c:v>
                </c:pt>
                <c:pt idx="18">
                  <c:v>105.85127381218496</c:v>
                </c:pt>
                <c:pt idx="19">
                  <c:v>107.77794725488931</c:v>
                </c:pt>
                <c:pt idx="20">
                  <c:v>109.692951757996</c:v>
                </c:pt>
                <c:pt idx="21">
                  <c:v>111.59640814070877</c:v>
                </c:pt>
                <c:pt idx="22">
                  <c:v>113.48843518632452</c:v>
                </c:pt>
                <c:pt idx="23">
                  <c:v>115.3691496929761</c:v>
                </c:pt>
                <c:pt idx="24">
                  <c:v>117.23866652266979</c:v>
                </c:pt>
                <c:pt idx="25">
                  <c:v>119.09709864870092</c:v>
                </c:pt>
                <c:pt idx="26">
                  <c:v>120.89765540692672</c:v>
                </c:pt>
                <c:pt idx="27">
                  <c:v>122.68559583264955</c:v>
                </c:pt>
                <c:pt idx="28">
                  <c:v>124.46103443842682</c:v>
                </c:pt>
                <c:pt idx="29">
                  <c:v>126.2240843000244</c:v>
                </c:pt>
                <c:pt idx="30">
                  <c:v>127.97485707916671</c:v>
                </c:pt>
                <c:pt idx="31">
                  <c:v>129.71346304582673</c:v>
                </c:pt>
                <c:pt idx="32">
                  <c:v>131.44001110008566</c:v>
                </c:pt>
                <c:pt idx="33">
                  <c:v>133.15460879355433</c:v>
                </c:pt>
                <c:pt idx="34">
                  <c:v>134.85736235037695</c:v>
                </c:pt>
                <c:pt idx="35">
                  <c:v>136.54837668783097</c:v>
                </c:pt>
                <c:pt idx="36">
                  <c:v>138.22775543652347</c:v>
                </c:pt>
                <c:pt idx="37">
                  <c:v>139.89560096020247</c:v>
                </c:pt>
                <c:pt idx="38">
                  <c:v>141.55201437519088</c:v>
                </c:pt>
                <c:pt idx="39">
                  <c:v>143.1970955694458</c:v>
                </c:pt>
                <c:pt idx="40">
                  <c:v>144.8309432212673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2</c:f>
              <c:strCache>
                <c:ptCount val="41"/>
                <c:pt idx="0">
                  <c:v>17</c:v>
                </c:pt>
                <c:pt idx="1">
                  <c:v>17</c:v>
                </c:pt>
                <c:pt idx="2">
                  <c:v>17</c:v>
                </c:pt>
                <c:pt idx="3">
                  <c:v>18</c:v>
                </c:pt>
                <c:pt idx="4">
                  <c:v>18</c:v>
                </c:pt>
                <c:pt idx="5">
                  <c:v>18</c:v>
                </c:pt>
                <c:pt idx="6">
                  <c:v>18</c:v>
                </c:pt>
                <c:pt idx="7">
                  <c:v>18</c:v>
                </c:pt>
                <c:pt idx="8">
                  <c:v>19</c:v>
                </c:pt>
                <c:pt idx="9">
                  <c:v>19</c:v>
                </c:pt>
                <c:pt idx="10">
                  <c:v>19</c:v>
                </c:pt>
                <c:pt idx="11">
                  <c:v>19</c:v>
                </c:pt>
                <c:pt idx="12">
                  <c:v>19</c:v>
                </c:pt>
                <c:pt idx="13">
                  <c:v>20</c:v>
                </c:pt>
                <c:pt idx="14">
                  <c:v>20</c:v>
                </c:pt>
                <c:pt idx="15">
                  <c:v>20</c:v>
                </c:pt>
                <c:pt idx="16">
                  <c:v>20</c:v>
                </c:pt>
                <c:pt idx="17">
                  <c:v>20</c:v>
                </c:pt>
                <c:pt idx="18">
                  <c:v>21</c:v>
                </c:pt>
                <c:pt idx="19">
                  <c:v>21</c:v>
                </c:pt>
                <c:pt idx="20">
                  <c:v>21</c:v>
                </c:pt>
                <c:pt idx="21">
                  <c:v>21</c:v>
                </c:pt>
                <c:pt idx="22">
                  <c:v>21</c:v>
                </c:pt>
                <c:pt idx="23">
                  <c:v>22</c:v>
                </c:pt>
                <c:pt idx="24">
                  <c:v>22</c:v>
                </c:pt>
                <c:pt idx="25">
                  <c:v>22</c:v>
                </c:pt>
                <c:pt idx="26">
                  <c:v>22</c:v>
                </c:pt>
                <c:pt idx="27">
                  <c:v>22</c:v>
                </c:pt>
                <c:pt idx="28">
                  <c:v>23</c:v>
                </c:pt>
                <c:pt idx="29">
                  <c:v>23</c:v>
                </c:pt>
                <c:pt idx="30">
                  <c:v>23</c:v>
                </c:pt>
                <c:pt idx="31">
                  <c:v>23</c:v>
                </c:pt>
                <c:pt idx="32">
                  <c:v>23</c:v>
                </c:pt>
                <c:pt idx="33">
                  <c:v>24</c:v>
                </c:pt>
                <c:pt idx="34">
                  <c:v>24</c:v>
                </c:pt>
                <c:pt idx="35">
                  <c:v>24</c:v>
                </c:pt>
                <c:pt idx="36">
                  <c:v>24</c:v>
                </c:pt>
                <c:pt idx="37">
                  <c:v>24</c:v>
                </c:pt>
                <c:pt idx="38">
                  <c:v>25</c:v>
                </c:pt>
                <c:pt idx="39">
                  <c:v>25</c:v>
                </c:pt>
                <c:pt idx="40">
                  <c:v>25</c:v>
                </c:pt>
              </c:strCache>
            </c:strRef>
          </c:cat>
          <c:val>
            <c:numRef>
              <c:f>Sheet1!$E$2:$E$42</c:f>
              <c:numCache>
                <c:formatCode>General</c:formatCode>
                <c:ptCount val="41"/>
                <c:pt idx="0">
                  <c:v>0.33856309323391515</c:v>
                </c:pt>
                <c:pt idx="1">
                  <c:v>0.3462676582515748</c:v>
                </c:pt>
                <c:pt idx="2">
                  <c:v>0.35379480093146465</c:v>
                </c:pt>
                <c:pt idx="3">
                  <c:v>0.3611505800898998</c:v>
                </c:pt>
                <c:pt idx="4">
                  <c:v>0.3683407817771266</c:v>
                </c:pt>
                <c:pt idx="5">
                  <c:v>0.37537093445629044</c:v>
                </c:pt>
                <c:pt idx="6">
                  <c:v>0.3822463231799416</c:v>
                </c:pt>
                <c:pt idx="7">
                  <c:v>0.38897200284047584</c:v>
                </c:pt>
                <c:pt idx="8">
                  <c:v>0.39555281056432634</c:v>
                </c:pt>
                <c:pt idx="9">
                  <c:v>0.4019933773137742</c:v>
                </c:pt>
                <c:pt idx="10">
                  <c:v>0.4082981387548518</c:v>
                </c:pt>
                <c:pt idx="11">
                  <c:v>0.4144713454449421</c:v>
                </c:pt>
                <c:pt idx="12">
                  <c:v>0.42051707238923797</c:v>
                </c:pt>
                <c:pt idx="13">
                  <c:v>0.4264392280112182</c:v>
                </c:pt>
                <c:pt idx="14">
                  <c:v>0.43224156257863133</c:v>
                </c:pt>
                <c:pt idx="15">
                  <c:v>0.43792767612316175</c:v>
                </c:pt>
                <c:pt idx="16">
                  <c:v>0.4435010258889211</c:v>
                </c:pt>
                <c:pt idx="17">
                  <c:v>0.44896493334214727</c:v>
                </c:pt>
                <c:pt idx="18">
                  <c:v>0.4543225907719758</c:v>
                </c:pt>
                <c:pt idx="19">
                  <c:v>0.4595770675098479</c:v>
                </c:pt>
                <c:pt idx="20">
                  <c:v>0.46473131579301574</c:v>
                </c:pt>
                <c:pt idx="21">
                  <c:v>0.46978817629567965</c:v>
                </c:pt>
                <c:pt idx="22">
                  <c:v>0.47475038334953396</c:v>
                </c:pt>
                <c:pt idx="23">
                  <c:v>0.4796205698738776</c:v>
                </c:pt>
                <c:pt idx="24">
                  <c:v>0.4844012720339706</c:v>
                </c:pt>
                <c:pt idx="25">
                  <c:v>0.48909493364494944</c:v>
                </c:pt>
                <c:pt idx="26">
                  <c:v>0.4937039103373721</c:v>
                </c:pt>
                <c:pt idx="27">
                  <c:v>0.4982304734993089</c:v>
                </c:pt>
                <c:pt idx="28">
                  <c:v>0.502676814008841</c:v>
                </c:pt>
                <c:pt idx="29">
                  <c:v>0.5070450457698524</c:v>
                </c:pt>
                <c:pt idx="30">
                  <c:v>0.5113372090631058</c:v>
                </c:pt>
                <c:pt idx="31">
                  <c:v>0.5155552737237609</c:v>
                </c:pt>
                <c:pt idx="32">
                  <c:v>0.5197011421557355</c:v>
                </c:pt>
                <c:pt idx="33">
                  <c:v>0.5237766521925982</c:v>
                </c:pt>
                <c:pt idx="34">
                  <c:v>0.527783579814032</c:v>
                </c:pt>
                <c:pt idx="35">
                  <c:v>0.5317236417263054</c:v>
                </c:pt>
                <c:pt idx="36">
                  <c:v>0.5355984978146271</c:v>
                </c:pt>
                <c:pt idx="37">
                  <c:v>0.5394097534747452</c:v>
                </c:pt>
                <c:pt idx="38">
                  <c:v>0.5431589618306691</c:v>
                </c:pt>
                <c:pt idx="39">
                  <c:v>0.5468476258449553</c:v>
                </c:pt>
                <c:pt idx="40">
                  <c:v>0.550477200327574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B$2:$B$32</c:f>
              <c:numCache>
                <c:formatCode>General</c:formatCode>
                <c:ptCount val="31"/>
                <c:pt idx="0">
                  <c:v>120.25461564197926</c:v>
                </c:pt>
                <c:pt idx="1">
                  <c:v>116.49156445272857</c:v>
                </c:pt>
                <c:pt idx="2">
                  <c:v>113.04378626608795</c:v>
                </c:pt>
                <c:pt idx="3">
                  <c:v>109.87101743027733</c:v>
                </c:pt>
                <c:pt idx="4">
                  <c:v>106.93914726054174</c:v>
                </c:pt>
                <c:pt idx="5">
                  <c:v>105.15056146954673</c:v>
                </c:pt>
                <c:pt idx="6">
                  <c:v>104.35881469047708</c:v>
                </c:pt>
                <c:pt idx="7">
                  <c:v>103.58724006178677</c:v>
                </c:pt>
                <c:pt idx="8">
                  <c:v>102.83486445769978</c:v>
                </c:pt>
                <c:pt idx="9">
                  <c:v>102.10077790937468</c:v>
                </c:pt>
                <c:pt idx="10">
                  <c:v>101.38412868323736</c:v>
                </c:pt>
                <c:pt idx="11">
                  <c:v>100.68411880762287</c:v>
                </c:pt>
                <c:pt idx="12">
                  <c:v>100.0</c:v>
                </c:pt>
                <c:pt idx="13">
                  <c:v>98.96902185513316</c:v>
                </c:pt>
                <c:pt idx="14">
                  <c:v>97.96930706907322</c:v>
                </c:pt>
                <c:pt idx="15">
                  <c:v>96.99902701680342</c:v>
                </c:pt>
                <c:pt idx="16">
                  <c:v>96.05650991711548</c:v>
                </c:pt>
                <c:pt idx="17">
                  <c:v>95.14022328304878</c:v>
                </c:pt>
                <c:pt idx="18">
                  <c:v>94.63758443491103</c:v>
                </c:pt>
                <c:pt idx="19">
                  <c:v>94.14342497685382</c:v>
                </c:pt>
                <c:pt idx="20">
                  <c:v>93.65746487682298</c:v>
                </c:pt>
                <c:pt idx="21">
                  <c:v>93.17943764630702</c:v>
                </c:pt>
                <c:pt idx="22">
                  <c:v>92.70908949759458</c:v>
                </c:pt>
                <c:pt idx="23">
                  <c:v>92.24617856484896</c:v>
                </c:pt>
                <c:pt idx="24">
                  <c:v>91.79047418334365</c:v>
                </c:pt>
                <c:pt idx="25">
                  <c:v>91.3417562217451</c:v>
                </c:pt>
                <c:pt idx="26">
                  <c:v>90.89981446285995</c:v>
                </c:pt>
                <c:pt idx="27">
                  <c:v>90.46444802869394</c:v>
                </c:pt>
                <c:pt idx="28">
                  <c:v>90.03546484609213</c:v>
                </c:pt>
                <c:pt idx="29">
                  <c:v>89.61268114957295</c:v>
                </c:pt>
                <c:pt idx="30">
                  <c:v>89.195921018304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C$2:$C$32</c:f>
              <c:numCache>
                <c:formatCode>General</c:formatCode>
                <c:ptCount val="31"/>
                <c:pt idx="0">
                  <c:v>101.07844191265202</c:v>
                </c:pt>
                <c:pt idx="1">
                  <c:v>99.46842464200374</c:v>
                </c:pt>
                <c:pt idx="2">
                  <c:v>98.03116411302801</c:v>
                </c:pt>
                <c:pt idx="3">
                  <c:v>96.74387481296185</c:v>
                </c:pt>
                <c:pt idx="4">
                  <c:v>95.58711382658687</c:v>
                </c:pt>
                <c:pt idx="5">
                  <c:v>95.38658910662663</c:v>
                </c:pt>
                <c:pt idx="6">
                  <c:v>96.05327427786547</c:v>
                </c:pt>
                <c:pt idx="7">
                  <c:v>96.71759054249668</c:v>
                </c:pt>
                <c:pt idx="8">
                  <c:v>97.37942555987493</c:v>
                </c:pt>
                <c:pt idx="9">
                  <c:v>98.03867571992654</c:v>
                </c:pt>
                <c:pt idx="10">
                  <c:v>98.69524555979844</c:v>
                </c:pt>
                <c:pt idx="11">
                  <c:v>99.3490472294098</c:v>
                </c:pt>
                <c:pt idx="12">
                  <c:v>100.0</c:v>
                </c:pt>
                <c:pt idx="13">
                  <c:v>100.28255066696674</c:v>
                </c:pt>
                <c:pt idx="14">
                  <c:v>100.56971167208988</c:v>
                </c:pt>
                <c:pt idx="15">
                  <c:v>100.8608325324454</c:v>
                </c:pt>
                <c:pt idx="16">
                  <c:v>101.15533042158778</c:v>
                </c:pt>
                <c:pt idx="17">
                  <c:v>101.45268190942991</c:v>
                </c:pt>
                <c:pt idx="18">
                  <c:v>102.17039997070476</c:v>
                </c:pt>
                <c:pt idx="19">
                  <c:v>102.88390517542058</c:v>
                </c:pt>
                <c:pt idx="20">
                  <c:v>103.59322875714183</c:v>
                </c:pt>
                <c:pt idx="21">
                  <c:v>104.29840213985769</c:v>
                </c:pt>
                <c:pt idx="22">
                  <c:v>104.99945688690184</c:v>
                </c:pt>
                <c:pt idx="23">
                  <c:v>105.69642465559457</c:v>
                </c:pt>
                <c:pt idx="24">
                  <c:v>106.38933715700125</c:v>
                </c:pt>
                <c:pt idx="25">
                  <c:v>107.07822612023836</c:v>
                </c:pt>
                <c:pt idx="26">
                  <c:v>107.76312326084032</c:v>
                </c:pt>
                <c:pt idx="27">
                  <c:v>108.4440602527267</c:v>
                </c:pt>
                <c:pt idx="28">
                  <c:v>109.12106870338263</c:v>
                </c:pt>
                <c:pt idx="29">
                  <c:v>109.79418013188416</c:v>
                </c:pt>
                <c:pt idx="30">
                  <c:v>110.4634259494575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D$2:$D$32</c:f>
              <c:numCache>
                <c:formatCode>General</c:formatCode>
                <c:ptCount val="31"/>
                <c:pt idx="0">
                  <c:v>83.25670738375183</c:v>
                </c:pt>
                <c:pt idx="1">
                  <c:v>83.63808788956385</c:v>
                </c:pt>
                <c:pt idx="2">
                  <c:v>84.06095117137572</c:v>
                </c:pt>
                <c:pt idx="3">
                  <c:v>84.51857377506391</c:v>
                </c:pt>
                <c:pt idx="4">
                  <c:v>85.00499397288796</c:v>
                </c:pt>
                <c:pt idx="5">
                  <c:v>86.27917509179088</c:v>
                </c:pt>
                <c:pt idx="6">
                  <c:v>88.30513628801673</c:v>
                </c:pt>
                <c:pt idx="7">
                  <c:v>90.30808516175408</c:v>
                </c:pt>
                <c:pt idx="8">
                  <c:v>92.28869994212319</c:v>
                </c:pt>
                <c:pt idx="9">
                  <c:v>94.24761735911554</c:v>
                </c:pt>
                <c:pt idx="10">
                  <c:v>96.18543607056984</c:v>
                </c:pt>
                <c:pt idx="11">
                  <c:v>98.10271976885662</c:v>
                </c:pt>
                <c:pt idx="12">
                  <c:v>100.0</c:v>
                </c:pt>
                <c:pt idx="13">
                  <c:v>101.5064482229659</c:v>
                </c:pt>
                <c:pt idx="14">
                  <c:v>102.99289724579035</c:v>
                </c:pt>
                <c:pt idx="15">
                  <c:v>104.45978243884349</c:v>
                </c:pt>
                <c:pt idx="16">
                  <c:v>105.90752456783932</c:v>
                </c:pt>
                <c:pt idx="17">
                  <c:v>107.3365301008164</c:v>
                </c:pt>
                <c:pt idx="18">
                  <c:v>109.19583090225406</c:v>
                </c:pt>
                <c:pt idx="19">
                  <c:v>111.0393589864692</c:v>
                </c:pt>
                <c:pt idx="20">
                  <c:v>112.86742908325415</c:v>
                </c:pt>
                <c:pt idx="21">
                  <c:v>114.68034387256967</c:v>
                </c:pt>
                <c:pt idx="22">
                  <c:v>116.47839466192234</c:v>
                </c:pt>
                <c:pt idx="23">
                  <c:v>118.26186201591602</c:v>
                </c:pt>
                <c:pt idx="24">
                  <c:v>120.03101634203492</c:v>
                </c:pt>
                <c:pt idx="25">
                  <c:v>121.78611843627871</c:v>
                </c:pt>
                <c:pt idx="26">
                  <c:v>123.52741999194214</c:v>
                </c:pt>
                <c:pt idx="27">
                  <c:v>125.25516407448605</c:v>
                </c:pt>
                <c:pt idx="28">
                  <c:v>126.96958556519414</c:v>
                </c:pt>
                <c:pt idx="29">
                  <c:v>128.6709115760321</c:v>
                </c:pt>
                <c:pt idx="30">
                  <c:v>130.3593618379255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E$2:$E$32</c:f>
              <c:numCache>
                <c:formatCode>General</c:formatCode>
                <c:ptCount val="31"/>
                <c:pt idx="0">
                  <c:v>0.4296531739562139</c:v>
                </c:pt>
                <c:pt idx="1">
                  <c:v>0.43858577890599915</c:v>
                </c:pt>
                <c:pt idx="2">
                  <c:v>0.4472428987378264</c:v>
                </c:pt>
                <c:pt idx="3">
                  <c:v>0.4556370840265459</c:v>
                </c:pt>
                <c:pt idx="4">
                  <c:v>0.4637801343776821</c:v>
                </c:pt>
                <c:pt idx="5">
                  <c:v>0.4716831537678414</c:v>
                </c:pt>
                <c:pt idx="6">
                  <c:v>0.47935660106242617</c:v>
                </c:pt>
                <c:pt idx="7">
                  <c:v>0.48681033619395914</c:v>
                </c:pt>
                <c:pt idx="8">
                  <c:v>0.49405366242975357</c:v>
                </c:pt>
                <c:pt idx="9">
                  <c:v>0.5010953651099243</c:v>
                </c:pt>
                <c:pt idx="10">
                  <c:v>0.5079437471948942</c:v>
                </c:pt>
                <c:pt idx="11">
                  <c:v>0.5146066619248213</c:v>
                </c:pt>
                <c:pt idx="12">
                  <c:v>0.5210915428610294</c:v>
                </c:pt>
                <c:pt idx="13">
                  <c:v>0.5274054315510618</c:v>
                </c:pt>
                <c:pt idx="14">
                  <c:v>0.5335550030338068</c:v>
                </c:pt>
                <c:pt idx="15">
                  <c:v>0.5395465893789086</c:v>
                </c:pt>
                <c:pt idx="16">
                  <c:v>0.5453862014349783</c:v>
                </c:pt>
                <c:pt idx="17">
                  <c:v>0.55107954894362</c:v>
                </c:pt>
                <c:pt idx="18">
                  <c:v>0.5566320591607674</c:v>
                </c:pt>
                <c:pt idx="19">
                  <c:v>0.5620488941129878</c:v>
                </c:pt>
                <c:pt idx="20">
                  <c:v>0.5673349666040801</c:v>
                </c:pt>
                <c:pt idx="21">
                  <c:v>0.5724949550763034</c:v>
                </c:pt>
                <c:pt idx="22">
                  <c:v>0.5775333174207193</c:v>
                </c:pt>
                <c:pt idx="23">
                  <c:v>0.5824543038223419</c:v>
                </c:pt>
                <c:pt idx="24">
                  <c:v>0.5872619687178819</c:v>
                </c:pt>
                <c:pt idx="25">
                  <c:v>0.5919601819368018</c:v>
                </c:pt>
                <c:pt idx="26">
                  <c:v>0.5965526390900173</c:v>
                </c:pt>
                <c:pt idx="27">
                  <c:v>0.601042871264864</c:v>
                </c:pt>
                <c:pt idx="28">
                  <c:v>0.6054342540797804</c:v>
                </c:pt>
                <c:pt idx="29">
                  <c:v>0.6097300161475019</c:v>
                </c:pt>
                <c:pt idx="30">
                  <c:v>0.613933246991362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B$2:$B$21</c:f>
              <c:numCache>
                <c:formatCode>General</c:formatCode>
                <c:ptCount val="20"/>
                <c:pt idx="0">
                  <c:v>109.5346729399949</c:v>
                </c:pt>
                <c:pt idx="1">
                  <c:v>107.19329028856075</c:v>
                </c:pt>
                <c:pt idx="2">
                  <c:v>105.00723985263565</c:v>
                </c:pt>
                <c:pt idx="3">
                  <c:v>103.95749603385394</c:v>
                </c:pt>
                <c:pt idx="4">
                  <c:v>102.93282118538278</c:v>
                </c:pt>
                <c:pt idx="5">
                  <c:v>101.93227158226689</c:v>
                </c:pt>
                <c:pt idx="6">
                  <c:v>100.9549494006859</c:v>
                </c:pt>
                <c:pt idx="7">
                  <c:v>100.0</c:v>
                </c:pt>
                <c:pt idx="8">
                  <c:v>95.23610838999949</c:v>
                </c:pt>
                <c:pt idx="9">
                  <c:v>91.08685035104055</c:v>
                </c:pt>
                <c:pt idx="10">
                  <c:v>87.45176488772086</c:v>
                </c:pt>
                <c:pt idx="11">
                  <c:v>84.24416028342941</c:v>
                </c:pt>
                <c:pt idx="12">
                  <c:v>81.39164741298755</c:v>
                </c:pt>
                <c:pt idx="13">
                  <c:v>79.70303655676554</c:v>
                </c:pt>
                <c:pt idx="14">
                  <c:v>78.10085957507383</c:v>
                </c:pt>
                <c:pt idx="15">
                  <c:v>76.57834283919433</c:v>
                </c:pt>
                <c:pt idx="16">
                  <c:v>75.12938063810157</c:v>
                </c:pt>
                <c:pt idx="17">
                  <c:v>73.74846561200182</c:v>
                </c:pt>
                <c:pt idx="18">
                  <c:v>72.43062477793943</c:v>
                </c:pt>
                <c:pt idx="19">
                  <c:v>71.1713613644922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C$2:$C$21</c:f>
              <c:numCache>
                <c:formatCode>General</c:formatCode>
                <c:ptCount val="20"/>
                <c:pt idx="0">
                  <c:v>94.25370987528714</c:v>
                </c:pt>
                <c:pt idx="1">
                  <c:v>94.37862000761972</c:v>
                </c:pt>
                <c:pt idx="2">
                  <c:v>94.54962703986133</c:v>
                </c:pt>
                <c:pt idx="3">
                  <c:v>95.67581475296798</c:v>
                </c:pt>
                <c:pt idx="4">
                  <c:v>96.78334940228375</c:v>
                </c:pt>
                <c:pt idx="5">
                  <c:v>97.87284299257017</c:v>
                </c:pt>
                <c:pt idx="6">
                  <c:v>98.94487613744654</c:v>
                </c:pt>
                <c:pt idx="7">
                  <c:v>100.0</c:v>
                </c:pt>
                <c:pt idx="8">
                  <c:v>97.14389521164595</c:v>
                </c:pt>
                <c:pt idx="9">
                  <c:v>94.7355953433343</c:v>
                </c:pt>
                <c:pt idx="10">
                  <c:v>92.70561797431098</c:v>
                </c:pt>
                <c:pt idx="11">
                  <c:v>90.99130135954897</c:v>
                </c:pt>
                <c:pt idx="12">
                  <c:v>89.53876700784907</c:v>
                </c:pt>
                <c:pt idx="13">
                  <c:v>89.27145790942257</c:v>
                </c:pt>
                <c:pt idx="14">
                  <c:v>89.03524949709073</c:v>
                </c:pt>
                <c:pt idx="15">
                  <c:v>88.82745705065493</c:v>
                </c:pt>
                <c:pt idx="16">
                  <c:v>88.64564412750524</c:v>
                </c:pt>
                <c:pt idx="17">
                  <c:v>88.48760553471185</c:v>
                </c:pt>
                <c:pt idx="18">
                  <c:v>88.35134883287847</c:v>
                </c:pt>
                <c:pt idx="19">
                  <c:v>88.2350754152170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D$2:$D$21</c:f>
              <c:numCache>
                <c:formatCode>General</c:formatCode>
                <c:ptCount val="20"/>
                <c:pt idx="0">
                  <c:v>78.38145434768661</c:v>
                </c:pt>
                <c:pt idx="1">
                  <c:v>81.06132222749606</c:v>
                </c:pt>
                <c:pt idx="2">
                  <c:v>83.67470253754541</c:v>
                </c:pt>
                <c:pt idx="3">
                  <c:v>87.06207307872994</c:v>
                </c:pt>
                <c:pt idx="4">
                  <c:v>90.3861534396184</c:v>
                </c:pt>
                <c:pt idx="5">
                  <c:v>93.64913228561565</c:v>
                </c:pt>
                <c:pt idx="6">
                  <c:v>96.85308894181563</c:v>
                </c:pt>
                <c:pt idx="7">
                  <c:v>100.0</c:v>
                </c:pt>
                <c:pt idx="8">
                  <c:v>99.105608890774</c:v>
                </c:pt>
                <c:pt idx="9">
                  <c:v>98.4886776412522</c:v>
                </c:pt>
                <c:pt idx="10">
                  <c:v>98.11141868124518</c:v>
                </c:pt>
                <c:pt idx="11">
                  <c:v>97.93572437250936</c:v>
                </c:pt>
                <c:pt idx="12">
                  <c:v>97.92660593595109</c:v>
                </c:pt>
                <c:pt idx="13">
                  <c:v>99.13333112151332</c:v>
                </c:pt>
                <c:pt idx="14">
                  <c:v>100.31385465036226</c:v>
                </c:pt>
                <c:pt idx="15">
                  <c:v>101.46973674212816</c:v>
                </c:pt>
                <c:pt idx="16">
                  <c:v>102.60234890874642</c:v>
                </c:pt>
                <c:pt idx="17">
                  <c:v>103.71291181221656</c:v>
                </c:pt>
                <c:pt idx="18">
                  <c:v>104.8025242545658</c:v>
                </c:pt>
                <c:pt idx="19">
                  <c:v>105.8721852133124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E$2:$E$21</c:f>
              <c:numCache>
                <c:formatCode>General</c:formatCode>
                <c:ptCount val="20"/>
                <c:pt idx="0">
                  <c:v>0.41101494040589326</c:v>
                </c:pt>
                <c:pt idx="1">
                  <c:v>0.4244467547637975</c:v>
                </c:pt>
                <c:pt idx="2">
                  <c:v>0.4372796030410821</c:v>
                </c:pt>
                <c:pt idx="3">
                  <c:v>0.44955267603909543</c:v>
                </c:pt>
                <c:pt idx="4">
                  <c:v>0.4613018184929036</c:v>
                </c:pt>
                <c:pt idx="5">
                  <c:v>0.4725598787124876</c:v>
                </c:pt>
                <c:pt idx="6">
                  <c:v>0.48335701527927405</c:v>
                </c:pt>
                <c:pt idx="7">
                  <c:v>0.49372096682833566</c:v>
                </c:pt>
                <c:pt idx="8">
                  <c:v>0.5036772899978865</c:v>
                </c:pt>
                <c:pt idx="9">
                  <c:v>0.513249569843636</c:v>
                </c:pt>
                <c:pt idx="10">
                  <c:v>0.522459606365043</c:v>
                </c:pt>
                <c:pt idx="11">
                  <c:v>0.5313275802487006</c:v>
                </c:pt>
                <c:pt idx="12">
                  <c:v>0.5398722004811765</c:v>
                </c:pt>
                <c:pt idx="13">
                  <c:v>0.5481108361037158</c:v>
                </c:pt>
                <c:pt idx="14">
                  <c:v>0.556059634061434</c:v>
                </c:pt>
                <c:pt idx="15">
                  <c:v>0.5637336248296029</c:v>
                </c:pt>
                <c:pt idx="16">
                  <c:v>0.5711468172709012</c:v>
                </c:pt>
                <c:pt idx="17">
                  <c:v>0.5783122839831667</c:v>
                </c:pt>
                <c:pt idx="18">
                  <c:v>0.5852422382315946</c:v>
                </c:pt>
                <c:pt idx="19">
                  <c:v>0.591948103417825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B$2:$B$32</c:f>
              <c:numCache>
                <c:formatCode>General</c:formatCode>
                <c:ptCount val="31"/>
                <c:pt idx="0">
                  <c:v>120.7764124374506</c:v>
                </c:pt>
                <c:pt idx="1">
                  <c:v>117.17766262953057</c:v>
                </c:pt>
                <c:pt idx="2">
                  <c:v>113.87833523928228</c:v>
                </c:pt>
                <c:pt idx="3">
                  <c:v>110.83791207802768</c:v>
                </c:pt>
                <c:pt idx="4">
                  <c:v>108.02272165937812</c:v>
                </c:pt>
                <c:pt idx="5">
                  <c:v>106.19696248862962</c:v>
                </c:pt>
                <c:pt idx="6">
                  <c:v>105.23242267899717</c:v>
                </c:pt>
                <c:pt idx="7">
                  <c:v>104.29679131255898</c:v>
                </c:pt>
                <c:pt idx="8">
                  <c:v>103.3884598164363</c:v>
                </c:pt>
                <c:pt idx="9">
                  <c:v>102.50594154573822</c:v>
                </c:pt>
                <c:pt idx="10">
                  <c:v>101.64786050158632</c:v>
                </c:pt>
                <c:pt idx="11">
                  <c:v>100.81294126523443</c:v>
                </c:pt>
                <c:pt idx="12">
                  <c:v>100.0</c:v>
                </c:pt>
                <c:pt idx="13">
                  <c:v>98.53951974876452</c:v>
                </c:pt>
                <c:pt idx="14">
                  <c:v>97.13799652934141</c:v>
                </c:pt>
                <c:pt idx="15">
                  <c:v>95.79124940894303</c:v>
                </c:pt>
                <c:pt idx="16">
                  <c:v>94.49550778735524</c:v>
                </c:pt>
                <c:pt idx="17">
                  <c:v>93.2473610909237</c:v>
                </c:pt>
                <c:pt idx="18">
                  <c:v>92.59261417825041</c:v>
                </c:pt>
                <c:pt idx="19">
                  <c:v>91.95126499977953</c:v>
                </c:pt>
                <c:pt idx="20">
                  <c:v>91.3227887567711</c:v>
                </c:pt>
                <c:pt idx="21">
                  <c:v>90.70669039528251</c:v>
                </c:pt>
                <c:pt idx="22">
                  <c:v>90.10250247062802</c:v>
                </c:pt>
                <c:pt idx="23">
                  <c:v>89.50978319308948</c:v>
                </c:pt>
                <c:pt idx="24">
                  <c:v>88.92811463747283</c:v>
                </c:pt>
                <c:pt idx="25">
                  <c:v>88.35710110093315</c:v>
                </c:pt>
                <c:pt idx="26">
                  <c:v>87.79636759511877</c:v>
                </c:pt>
                <c:pt idx="27">
                  <c:v>87.24555846013182</c:v>
                </c:pt>
                <c:pt idx="28">
                  <c:v>86.70433608908466</c:v>
                </c:pt>
                <c:pt idx="29">
                  <c:v>86.17237975317424</c:v>
                </c:pt>
                <c:pt idx="30">
                  <c:v>85.6493845182101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C$2:$C$32</c:f>
              <c:numCache>
                <c:formatCode>General</c:formatCode>
                <c:ptCount val="31"/>
                <c:pt idx="0">
                  <c:v>101.49568898854284</c:v>
                </c:pt>
                <c:pt idx="1">
                  <c:v>100.03367193030988</c:v>
                </c:pt>
                <c:pt idx="2">
                  <c:v>98.7350504796389</c:v>
                </c:pt>
                <c:pt idx="3">
                  <c:v>97.57618020222489</c:v>
                </c:pt>
                <c:pt idx="4">
                  <c:v>96.5373649941785</c:v>
                </c:pt>
                <c:pt idx="5">
                  <c:v>96.31909549950613</c:v>
                </c:pt>
                <c:pt idx="6">
                  <c:v>96.84299516976014</c:v>
                </c:pt>
                <c:pt idx="7">
                  <c:v>97.36810168548573</c:v>
                </c:pt>
                <c:pt idx="8">
                  <c:v>97.8940500968638</c:v>
                </c:pt>
                <c:pt idx="9">
                  <c:v>98.420506718194</c:v>
                </c:pt>
                <c:pt idx="10">
                  <c:v>98.94716627087436</c:v>
                </c:pt>
                <c:pt idx="11">
                  <c:v>99.47374932432719</c:v>
                </c:pt>
                <c:pt idx="12">
                  <c:v>100.0</c:v>
                </c:pt>
                <c:pt idx="13">
                  <c:v>99.85028600596613</c:v>
                </c:pt>
                <c:pt idx="14">
                  <c:v>99.72216591330968</c:v>
                </c:pt>
                <c:pt idx="15">
                  <c:v>99.6136512325631</c:v>
                </c:pt>
                <c:pt idx="16">
                  <c:v>99.52296245999666</c:v>
                </c:pt>
                <c:pt idx="17">
                  <c:v>99.44850281929868</c:v>
                </c:pt>
                <c:pt idx="18">
                  <c:v>99.9796682180589</c:v>
                </c:pt>
                <c:pt idx="19">
                  <c:v>100.50799035897914</c:v>
                </c:pt>
                <c:pt idx="20">
                  <c:v>101.03342556921542</c:v>
                </c:pt>
                <c:pt idx="21">
                  <c:v>101.55593547902433</c:v>
                </c:pt>
                <c:pt idx="22">
                  <c:v>102.07548658407637</c:v>
                </c:pt>
                <c:pt idx="23">
                  <c:v>102.59204984488225</c:v>
                </c:pt>
                <c:pt idx="24">
                  <c:v>103.10560032004355</c:v>
                </c:pt>
                <c:pt idx="25">
                  <c:v>103.61611683032635</c:v>
                </c:pt>
                <c:pt idx="26">
                  <c:v>104.12358165083128</c:v>
                </c:pt>
                <c:pt idx="27">
                  <c:v>104.62798022878093</c:v>
                </c:pt>
                <c:pt idx="28">
                  <c:v>105.12930092467118</c:v>
                </c:pt>
                <c:pt idx="29">
                  <c:v>105.62753477473615</c:v>
                </c:pt>
                <c:pt idx="30">
                  <c:v>106.1226752728639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D$2:$D$32</c:f>
              <c:numCache>
                <c:formatCode>General</c:formatCode>
                <c:ptCount val="31"/>
                <c:pt idx="0">
                  <c:v>91.8696781514961</c:v>
                </c:pt>
                <c:pt idx="1">
                  <c:v>91.4693735241088</c:v>
                </c:pt>
                <c:pt idx="2">
                  <c:v>91.16521662576152</c:v>
                </c:pt>
                <c:pt idx="3">
                  <c:v>90.94187851947473</c:v>
                </c:pt>
                <c:pt idx="4">
                  <c:v>90.7865519535291</c:v>
                </c:pt>
                <c:pt idx="5">
                  <c:v>91.3702183126446</c:v>
                </c:pt>
                <c:pt idx="6">
                  <c:v>92.63921172307303</c:v>
                </c:pt>
                <c:pt idx="7">
                  <c:v>93.89575503505196</c:v>
                </c:pt>
                <c:pt idx="8">
                  <c:v>95.14009775127</c:v>
                </c:pt>
                <c:pt idx="9">
                  <c:v>96.37247567439351</c:v>
                </c:pt>
                <c:pt idx="10">
                  <c:v>97.59311223444315</c:v>
                </c:pt>
                <c:pt idx="11">
                  <c:v>98.80221965789458</c:v>
                </c:pt>
                <c:pt idx="12">
                  <c:v>100.0</c:v>
                </c:pt>
                <c:pt idx="13">
                  <c:v>100.50489779496641</c:v>
                </c:pt>
                <c:pt idx="14">
                  <c:v>101.01284565216137</c:v>
                </c:pt>
                <c:pt idx="15">
                  <c:v>101.5229401788978</c:v>
                </c:pt>
                <c:pt idx="16">
                  <c:v>102.03438749545522</c:v>
                </c:pt>
                <c:pt idx="17">
                  <c:v>102.54648883284985</c:v>
                </c:pt>
                <c:pt idx="18">
                  <c:v>103.67321361350344</c:v>
                </c:pt>
                <c:pt idx="19">
                  <c:v>104.78908870830517</c:v>
                </c:pt>
                <c:pt idx="20">
                  <c:v>105.89430723773003</c:v>
                </c:pt>
                <c:pt idx="21">
                  <c:v>106.98905553781009</c:v>
                </c:pt>
                <c:pt idx="22">
                  <c:v>108.0735135649707</c:v>
                </c:pt>
                <c:pt idx="23">
                  <c:v>109.14785526632132</c:v>
                </c:pt>
                <c:pt idx="24">
                  <c:v>110.21224891913678</c:v>
                </c:pt>
                <c:pt idx="25">
                  <c:v>111.26685744278824</c:v>
                </c:pt>
                <c:pt idx="26">
                  <c:v>112.31183868597876</c:v>
                </c:pt>
                <c:pt idx="27">
                  <c:v>113.3473456917949</c:v>
                </c:pt>
                <c:pt idx="28">
                  <c:v>114.37352694277934</c:v>
                </c:pt>
                <c:pt idx="29">
                  <c:v>115.39052658797</c:v>
                </c:pt>
                <c:pt idx="30">
                  <c:v>116.398484653623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E$2:$E$32</c:f>
              <c:numCache>
                <c:formatCode>General</c:formatCode>
                <c:ptCount val="31"/>
                <c:pt idx="0">
                  <c:v>0.6068049690961386</c:v>
                </c:pt>
                <c:pt idx="1">
                  <c:v>0.6129630745135835</c:v>
                </c:pt>
                <c:pt idx="2">
                  <c:v>0.6189312614910149</c:v>
                </c:pt>
                <c:pt idx="3">
                  <c:v>0.6247181823491619</c:v>
                </c:pt>
                <c:pt idx="4">
                  <c:v>0.6303319716932283</c:v>
                </c:pt>
                <c:pt idx="5">
                  <c:v>0.6357802845643671</c:v>
                </c:pt>
                <c:pt idx="6">
                  <c:v>0.6410703312664097</c:v>
                </c:pt>
                <c:pt idx="7">
                  <c:v>0.6462089092010352</c:v>
                </c:pt>
                <c:pt idx="8">
                  <c:v>0.6512024320069485</c:v>
                </c:pt>
                <c:pt idx="9">
                  <c:v>0.6560569562657245</c:v>
                </c:pt>
                <c:pt idx="10">
                  <c:v>0.6607782060081305</c:v>
                </c:pt>
                <c:pt idx="11">
                  <c:v>0.6653715952294151</c:v>
                </c:pt>
                <c:pt idx="12">
                  <c:v>0.6698422485997637</c:v>
                </c:pt>
                <c:pt idx="13">
                  <c:v>0.674195020536484</c:v>
                </c:pt>
                <c:pt idx="14">
                  <c:v>0.6784345127871477</c:v>
                </c:pt>
                <c:pt idx="15">
                  <c:v>0.6825650906575762</c:v>
                </c:pt>
                <c:pt idx="16">
                  <c:v>0.6865908980049753</c:v>
                </c:pt>
                <c:pt idx="17">
                  <c:v>0.6905158711044748</c:v>
                </c:pt>
                <c:pt idx="18">
                  <c:v>0.6943437514866087</c:v>
                </c:pt>
                <c:pt idx="19">
                  <c:v>0.6980780978337484</c:v>
                </c:pt>
                <c:pt idx="20">
                  <c:v>0.7017222970149948</c:v>
                </c:pt>
                <c:pt idx="21">
                  <c:v>0.7052795743314526</c:v>
                </c:pt>
                <c:pt idx="22">
                  <c:v>0.7087530030370337</c:v>
                </c:pt>
                <c:pt idx="23">
                  <c:v>0.7121455131938533</c:v>
                </c:pt>
                <c:pt idx="24">
                  <c:v>0.7154598999158585</c:v>
                </c:pt>
                <c:pt idx="25">
                  <c:v>0.7186988310494288</c:v>
                </c:pt>
                <c:pt idx="26">
                  <c:v>0.7218648543353102</c:v>
                </c:pt>
                <c:pt idx="27">
                  <c:v>0.7249604040922906</c:v>
                </c:pt>
                <c:pt idx="28">
                  <c:v>0.727987807459464</c:v>
                </c:pt>
                <c:pt idx="29">
                  <c:v>0.7309492902307274</c:v>
                </c:pt>
                <c:pt idx="30">
                  <c:v>0.733846982312248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4</c:f>
              <c:strCache>
                <c:ptCount val="3"/>
                <c:pt idx="0">
                  <c:v>1</c:v>
                </c:pt>
                <c:pt idx="1">
                  <c:v>1</c:v>
                </c:pt>
                <c:pt idx="2">
                  <c:v>1</c:v>
                </c:pt>
              </c:strCache>
            </c:strRef>
          </c:cat>
          <c:val>
            <c:numRef>
              <c:f>Sheet1!$B$2:$B$4</c:f>
              <c:numCache>
                <c:formatCode>General</c:formatCode>
                <c:ptCount val="3"/>
                <c:pt idx="0">
                  <c:v>102.60211352240918</c:v>
                </c:pt>
                <c:pt idx="1">
                  <c:v>100.0</c:v>
                </c:pt>
                <c:pt idx="2">
                  <c:v>97.461980937278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4</c:f>
              <c:strCache>
                <c:ptCount val="3"/>
                <c:pt idx="0">
                  <c:v>1</c:v>
                </c:pt>
                <c:pt idx="1">
                  <c:v>1</c:v>
                </c:pt>
                <c:pt idx="2">
                  <c:v>1</c:v>
                </c:pt>
              </c:strCache>
            </c:strRef>
          </c:cat>
          <c:val>
            <c:numRef>
              <c:f>Sheet1!$C$2:$C$4</c:f>
              <c:numCache>
                <c:formatCode>General</c:formatCode>
                <c:ptCount val="3"/>
                <c:pt idx="0">
                  <c:v>81.8276556803729</c:v>
                </c:pt>
                <c:pt idx="1">
                  <c:v>100.0</c:v>
                </c:pt>
                <c:pt idx="2">
                  <c:v>117.1270416005299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4</c:f>
              <c:strCache>
                <c:ptCount val="3"/>
                <c:pt idx="0">
                  <c:v>1</c:v>
                </c:pt>
                <c:pt idx="1">
                  <c:v>1</c:v>
                </c:pt>
                <c:pt idx="2">
                  <c:v>1</c:v>
                </c:pt>
              </c:strCache>
            </c:strRef>
          </c:cat>
          <c:val>
            <c:numRef>
              <c:f>Sheet1!$D$2:$D$4</c:f>
              <c:numCache>
                <c:formatCode>General</c:formatCode>
                <c:ptCount val="3"/>
                <c:pt idx="0">
                  <c:v>-1491.3808145233704</c:v>
                </c:pt>
                <c:pt idx="1">
                  <c:v>100.0</c:v>
                </c:pt>
                <c:pt idx="2">
                  <c:v>1611.722519796133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4</c:f>
              <c:strCache>
                <c:ptCount val="3"/>
                <c:pt idx="0">
                  <c:v>1</c:v>
                </c:pt>
                <c:pt idx="1">
                  <c:v>1</c:v>
                </c:pt>
                <c:pt idx="2">
                  <c:v>1</c:v>
                </c:pt>
              </c:strCache>
            </c:strRef>
          </c:cat>
          <c:val>
            <c:numRef>
              <c:f>Sheet1!$E$2:$E$4</c:f>
              <c:numCache>
                <c:formatCode>General</c:formatCode>
                <c:ptCount val="3"/>
                <c:pt idx="0">
                  <c:v>-0.2729690346843737</c:v>
                </c:pt>
                <c:pt idx="1">
                  <c:v>-0.01317943576919548</c:v>
                </c:pt>
                <c:pt idx="2">
                  <c:v>0.1585458923272779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1800.0"/>
          <c:max val="190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2"/>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6</c:f>
              <c:strCache>
                <c:ptCount val="5"/>
                <c:pt idx="0">
                  <c:v>2</c:v>
                </c:pt>
                <c:pt idx="1">
                  <c:v>2</c:v>
                </c:pt>
                <c:pt idx="2">
                  <c:v>2</c:v>
                </c:pt>
                <c:pt idx="3">
                  <c:v>2</c:v>
                </c:pt>
                <c:pt idx="4">
                  <c:v>3</c:v>
                </c:pt>
              </c:strCache>
            </c:strRef>
          </c:cat>
          <c:val>
            <c:numRef>
              <c:f>Sheet1!$B$2:$B$6</c:f>
              <c:numCache>
                <c:formatCode>General</c:formatCode>
                <c:ptCount val="5"/>
                <c:pt idx="0">
                  <c:v>102.03827531487795</c:v>
                </c:pt>
                <c:pt idx="1">
                  <c:v>101.01198370955377</c:v>
                </c:pt>
                <c:pt idx="2">
                  <c:v>100.0</c:v>
                </c:pt>
                <c:pt idx="3">
                  <c:v>99.00199794856857</c:v>
                </c:pt>
                <c:pt idx="4">
                  <c:v>98.017662243668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6</c:f>
              <c:strCache>
                <c:ptCount val="5"/>
                <c:pt idx="0">
                  <c:v>2</c:v>
                </c:pt>
                <c:pt idx="1">
                  <c:v>2</c:v>
                </c:pt>
                <c:pt idx="2">
                  <c:v>2</c:v>
                </c:pt>
                <c:pt idx="3">
                  <c:v>2</c:v>
                </c:pt>
                <c:pt idx="4">
                  <c:v>3</c:v>
                </c:pt>
              </c:strCache>
            </c:strRef>
          </c:cat>
          <c:val>
            <c:numRef>
              <c:f>Sheet1!$C$2:$C$6</c:f>
              <c:numCache>
                <c:formatCode>General</c:formatCode>
                <c:ptCount val="5"/>
                <c:pt idx="0">
                  <c:v>83.49484203411383</c:v>
                </c:pt>
                <c:pt idx="1">
                  <c:v>91.84662189098202</c:v>
                </c:pt>
                <c:pt idx="2">
                  <c:v>100.0</c:v>
                </c:pt>
                <c:pt idx="3">
                  <c:v>107.96023117138023</c:v>
                </c:pt>
                <c:pt idx="4">
                  <c:v>115.7323727264879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6</c:f>
              <c:strCache>
                <c:ptCount val="5"/>
                <c:pt idx="0">
                  <c:v>2</c:v>
                </c:pt>
                <c:pt idx="1">
                  <c:v>2</c:v>
                </c:pt>
                <c:pt idx="2">
                  <c:v>2</c:v>
                </c:pt>
                <c:pt idx="3">
                  <c:v>2</c:v>
                </c:pt>
                <c:pt idx="4">
                  <c:v>3</c:v>
                </c:pt>
              </c:strCache>
            </c:strRef>
          </c:cat>
          <c:val>
            <c:numRef>
              <c:f>Sheet1!$D$2:$D$6</c:f>
              <c:numCache>
                <c:formatCode>General</c:formatCode>
                <c:ptCount val="5"/>
                <c:pt idx="0">
                  <c:v>-3009.7353203840257</c:v>
                </c:pt>
                <c:pt idx="1">
                  <c:v>-1439.2320404581108</c:v>
                </c:pt>
                <c:pt idx="2">
                  <c:v>100.0</c:v>
                </c:pt>
                <c:pt idx="3">
                  <c:v>1608.6098052266714</c:v>
                </c:pt>
                <c:pt idx="4">
                  <c:v>3087.22682938700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6</c:f>
              <c:strCache>
                <c:ptCount val="5"/>
                <c:pt idx="0">
                  <c:v>2</c:v>
                </c:pt>
                <c:pt idx="1">
                  <c:v>2</c:v>
                </c:pt>
                <c:pt idx="2">
                  <c:v>2</c:v>
                </c:pt>
                <c:pt idx="3">
                  <c:v>2</c:v>
                </c:pt>
                <c:pt idx="4">
                  <c:v>3</c:v>
                </c:pt>
              </c:strCache>
            </c:strRef>
          </c:cat>
          <c:val>
            <c:numRef>
              <c:f>Sheet1!$E$2:$E$6</c:f>
              <c:numCache>
                <c:formatCode>General</c:formatCode>
                <c:ptCount val="5"/>
                <c:pt idx="0">
                  <c:v>-0.23340882450623143</c:v>
                </c:pt>
                <c:pt idx="1">
                  <c:v>-0.10818965450559877</c:v>
                </c:pt>
                <c:pt idx="2">
                  <c:v>-0.006052359159460804</c:v>
                </c:pt>
                <c:pt idx="3">
                  <c:v>0.07884657410294113</c:v>
                </c:pt>
                <c:pt idx="4">
                  <c:v>0.1505316656124396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3600.0"/>
          <c:max val="370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2"/>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8</c:f>
              <c:strCache>
                <c:ptCount val="7"/>
                <c:pt idx="0">
                  <c:v>3</c:v>
                </c:pt>
                <c:pt idx="1">
                  <c:v>3</c:v>
                </c:pt>
                <c:pt idx="2">
                  <c:v>3</c:v>
                </c:pt>
                <c:pt idx="3">
                  <c:v>3</c:v>
                </c:pt>
                <c:pt idx="4">
                  <c:v>4</c:v>
                </c:pt>
                <c:pt idx="5">
                  <c:v>4</c:v>
                </c:pt>
                <c:pt idx="6">
                  <c:v>4</c:v>
                </c:pt>
              </c:strCache>
            </c:strRef>
          </c:cat>
          <c:val>
            <c:numRef>
              <c:f>Sheet1!$B$2:$B$8</c:f>
              <c:numCache>
                <c:formatCode>General</c:formatCode>
                <c:ptCount val="7"/>
                <c:pt idx="0">
                  <c:v>107.40866983281263</c:v>
                </c:pt>
                <c:pt idx="1">
                  <c:v>104.85059712708602</c:v>
                </c:pt>
                <c:pt idx="2">
                  <c:v>102.38252963997681</c:v>
                </c:pt>
                <c:pt idx="3">
                  <c:v>100.0</c:v>
                </c:pt>
                <c:pt idx="4">
                  <c:v>97.69880377112644</c:v>
                </c:pt>
                <c:pt idx="5">
                  <c:v>95.38838669189434</c:v>
                </c:pt>
                <c:pt idx="6">
                  <c:v>93.0588341238681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8</c:f>
              <c:strCache>
                <c:ptCount val="7"/>
                <c:pt idx="0">
                  <c:v>3</c:v>
                </c:pt>
                <c:pt idx="1">
                  <c:v>3</c:v>
                </c:pt>
                <c:pt idx="2">
                  <c:v>3</c:v>
                </c:pt>
                <c:pt idx="3">
                  <c:v>3</c:v>
                </c:pt>
                <c:pt idx="4">
                  <c:v>4</c:v>
                </c:pt>
                <c:pt idx="5">
                  <c:v>4</c:v>
                </c:pt>
                <c:pt idx="6">
                  <c:v>4</c:v>
                </c:pt>
              </c:strCache>
            </c:strRef>
          </c:cat>
          <c:val>
            <c:numRef>
              <c:f>Sheet1!$C$2:$C$8</c:f>
              <c:numCache>
                <c:formatCode>General</c:formatCode>
                <c:ptCount val="7"/>
                <c:pt idx="0">
                  <c:v>88.99444992572825</c:v>
                </c:pt>
                <c:pt idx="1">
                  <c:v>92.87116905361871</c:v>
                </c:pt>
                <c:pt idx="2">
                  <c:v>96.53580839074819</c:v>
                </c:pt>
                <c:pt idx="3">
                  <c:v>100.0</c:v>
                </c:pt>
                <c:pt idx="4">
                  <c:v>103.27455201095155</c:v>
                </c:pt>
                <c:pt idx="5">
                  <c:v>106.27457413538836</c:v>
                </c:pt>
                <c:pt idx="6">
                  <c:v>108.987489373642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8</c:f>
              <c:strCache>
                <c:ptCount val="7"/>
                <c:pt idx="0">
                  <c:v>3</c:v>
                </c:pt>
                <c:pt idx="1">
                  <c:v>3</c:v>
                </c:pt>
                <c:pt idx="2">
                  <c:v>3</c:v>
                </c:pt>
                <c:pt idx="3">
                  <c:v>3</c:v>
                </c:pt>
                <c:pt idx="4">
                  <c:v>4</c:v>
                </c:pt>
                <c:pt idx="5">
                  <c:v>4</c:v>
                </c:pt>
                <c:pt idx="6">
                  <c:v>4</c:v>
                </c:pt>
              </c:strCache>
            </c:strRef>
          </c:cat>
          <c:val>
            <c:numRef>
              <c:f>Sheet1!$D$2:$D$8</c:f>
              <c:numCache>
                <c:formatCode>General</c:formatCode>
                <c:ptCount val="7"/>
                <c:pt idx="0">
                  <c:v>-16.294262570929142</c:v>
                </c:pt>
                <c:pt idx="1">
                  <c:v>24.287839370334275</c:v>
                </c:pt>
                <c:pt idx="2">
                  <c:v>63.02069015835947</c:v>
                </c:pt>
                <c:pt idx="3">
                  <c:v>100.0</c:v>
                </c:pt>
                <c:pt idx="4">
                  <c:v>135.31526661686803</c:v>
                </c:pt>
                <c:pt idx="5">
                  <c:v>169.07829643804027</c:v>
                </c:pt>
                <c:pt idx="6">
                  <c:v>201.2796054906212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8</c:f>
              <c:strCache>
                <c:ptCount val="7"/>
                <c:pt idx="0">
                  <c:v>3</c:v>
                </c:pt>
                <c:pt idx="1">
                  <c:v>3</c:v>
                </c:pt>
                <c:pt idx="2">
                  <c:v>3</c:v>
                </c:pt>
                <c:pt idx="3">
                  <c:v>3</c:v>
                </c:pt>
                <c:pt idx="4">
                  <c:v>4</c:v>
                </c:pt>
                <c:pt idx="5">
                  <c:v>4</c:v>
                </c:pt>
                <c:pt idx="6">
                  <c:v>4</c:v>
                </c:pt>
              </c:strCache>
            </c:strRef>
          </c:cat>
          <c:val>
            <c:numRef>
              <c:f>Sheet1!$E$2:$E$8</c:f>
              <c:numCache>
                <c:formatCode>General</c:formatCode>
                <c:ptCount val="7"/>
                <c:pt idx="0">
                  <c:v>-0.4152827899036581</c:v>
                </c:pt>
                <c:pt idx="1">
                  <c:v>-0.3230819566851785</c:v>
                </c:pt>
                <c:pt idx="2">
                  <c:v>-0.24215951285122259</c:v>
                </c:pt>
                <c:pt idx="3">
                  <c:v>-0.1705653046177225</c:v>
                </c:pt>
                <c:pt idx="4">
                  <c:v>-0.1067742798429148</c:v>
                </c:pt>
                <c:pt idx="5">
                  <c:v>-0.04957664264173074</c:v>
                </c:pt>
                <c:pt idx="6">
                  <c:v>0.00199960515393174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20.0"/>
          <c:max val="2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0"/>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9</c:f>
              <c:strCache>
                <c:ptCount val="8"/>
                <c:pt idx="0">
                  <c:v>4</c:v>
                </c:pt>
                <c:pt idx="1">
                  <c:v>4</c:v>
                </c:pt>
                <c:pt idx="2">
                  <c:v>4</c:v>
                </c:pt>
                <c:pt idx="3">
                  <c:v>4</c:v>
                </c:pt>
                <c:pt idx="4">
                  <c:v>4</c:v>
                </c:pt>
                <c:pt idx="5">
                  <c:v>5</c:v>
                </c:pt>
                <c:pt idx="6">
                  <c:v>5</c:v>
                </c:pt>
                <c:pt idx="7">
                  <c:v>5</c:v>
                </c:pt>
              </c:strCache>
            </c:strRef>
          </c:cat>
          <c:val>
            <c:numRef>
              <c:f>Sheet1!$B$2:$B$9</c:f>
              <c:numCache>
                <c:formatCode>General</c:formatCode>
                <c:ptCount val="8"/>
                <c:pt idx="0">
                  <c:v>104.43126683174297</c:v>
                </c:pt>
                <c:pt idx="1">
                  <c:v>102.33512963200175</c:v>
                </c:pt>
                <c:pt idx="2">
                  <c:v>101.15545421341909</c:v>
                </c:pt>
                <c:pt idx="3">
                  <c:v>100.0</c:v>
                </c:pt>
                <c:pt idx="4">
                  <c:v>98.86797281605774</c:v>
                </c:pt>
                <c:pt idx="5">
                  <c:v>97.75861337431813</c:v>
                </c:pt>
                <c:pt idx="6">
                  <c:v>95.08853568425354</c:v>
                </c:pt>
                <c:pt idx="7">
                  <c:v>92.5074728964506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9</c:f>
              <c:strCache>
                <c:ptCount val="8"/>
                <c:pt idx="0">
                  <c:v>4</c:v>
                </c:pt>
                <c:pt idx="1">
                  <c:v>4</c:v>
                </c:pt>
                <c:pt idx="2">
                  <c:v>4</c:v>
                </c:pt>
                <c:pt idx="3">
                  <c:v>4</c:v>
                </c:pt>
                <c:pt idx="4">
                  <c:v>4</c:v>
                </c:pt>
                <c:pt idx="5">
                  <c:v>5</c:v>
                </c:pt>
                <c:pt idx="6">
                  <c:v>5</c:v>
                </c:pt>
                <c:pt idx="7">
                  <c:v>5</c:v>
                </c:pt>
              </c:strCache>
            </c:strRef>
          </c:cat>
          <c:val>
            <c:numRef>
              <c:f>Sheet1!$C$2:$C$9</c:f>
              <c:numCache>
                <c:formatCode>General</c:formatCode>
                <c:ptCount val="8"/>
                <c:pt idx="0">
                  <c:v>89.51500206232625</c:v>
                </c:pt>
                <c:pt idx="1">
                  <c:v>92.59126980366027</c:v>
                </c:pt>
                <c:pt idx="2">
                  <c:v>96.3411374009905</c:v>
                </c:pt>
                <c:pt idx="3">
                  <c:v>100.0</c:v>
                </c:pt>
                <c:pt idx="4">
                  <c:v>103.57068515487842</c:v>
                </c:pt>
                <c:pt idx="5">
                  <c:v>107.05589474016277</c:v>
                </c:pt>
                <c:pt idx="6">
                  <c:v>108.649154298686</c:v>
                </c:pt>
                <c:pt idx="7">
                  <c:v>110.093529220904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9</c:f>
              <c:strCache>
                <c:ptCount val="8"/>
                <c:pt idx="0">
                  <c:v>4</c:v>
                </c:pt>
                <c:pt idx="1">
                  <c:v>4</c:v>
                </c:pt>
                <c:pt idx="2">
                  <c:v>4</c:v>
                </c:pt>
                <c:pt idx="3">
                  <c:v>4</c:v>
                </c:pt>
                <c:pt idx="4">
                  <c:v>4</c:v>
                </c:pt>
                <c:pt idx="5">
                  <c:v>5</c:v>
                </c:pt>
                <c:pt idx="6">
                  <c:v>5</c:v>
                </c:pt>
                <c:pt idx="7">
                  <c:v>5</c:v>
                </c:pt>
              </c:strCache>
            </c:strRef>
          </c:cat>
          <c:val>
            <c:numRef>
              <c:f>Sheet1!$D$2:$D$9</c:f>
              <c:numCache>
                <c:formatCode>General</c:formatCode>
                <c:ptCount val="8"/>
                <c:pt idx="0">
                  <c:v>74.09245517700693</c:v>
                </c:pt>
                <c:pt idx="1">
                  <c:v>82.5152275550337</c:v>
                </c:pt>
                <c:pt idx="2">
                  <c:v>91.35974083390411</c:v>
                </c:pt>
                <c:pt idx="3">
                  <c:v>100.0</c:v>
                </c:pt>
                <c:pt idx="4">
                  <c:v>108.44217058572477</c:v>
                </c:pt>
                <c:pt idx="5">
                  <c:v>116.6921521427418</c:v>
                </c:pt>
                <c:pt idx="6">
                  <c:v>122.71314718396124</c:v>
                </c:pt>
                <c:pt idx="7">
                  <c:v>128.3405062016053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9</c:f>
              <c:strCache>
                <c:ptCount val="8"/>
                <c:pt idx="0">
                  <c:v>4</c:v>
                </c:pt>
                <c:pt idx="1">
                  <c:v>4</c:v>
                </c:pt>
                <c:pt idx="2">
                  <c:v>4</c:v>
                </c:pt>
                <c:pt idx="3">
                  <c:v>4</c:v>
                </c:pt>
                <c:pt idx="4">
                  <c:v>4</c:v>
                </c:pt>
                <c:pt idx="5">
                  <c:v>5</c:v>
                </c:pt>
                <c:pt idx="6">
                  <c:v>5</c:v>
                </c:pt>
                <c:pt idx="7">
                  <c:v>5</c:v>
                </c:pt>
              </c:strCache>
            </c:strRef>
          </c:cat>
          <c:val>
            <c:numRef>
              <c:f>Sheet1!$E$2:$E$9</c:f>
              <c:numCache>
                <c:formatCode>General</c:formatCode>
                <c:ptCount val="8"/>
                <c:pt idx="0">
                  <c:v>0.41044829365237606</c:v>
                </c:pt>
                <c:pt idx="1">
                  <c:v>0.44172424624376205</c:v>
                </c:pt>
                <c:pt idx="2">
                  <c:v>0.4698489693549075</c:v>
                </c:pt>
                <c:pt idx="3">
                  <c:v>0.4952758772995163</c:v>
                </c:pt>
                <c:pt idx="4">
                  <c:v>0.5183753794826048</c:v>
                </c:pt>
                <c:pt idx="5">
                  <c:v>0.5394530434002152</c:v>
                </c:pt>
                <c:pt idx="6">
                  <c:v>0.5587631883310236</c:v>
                </c:pt>
                <c:pt idx="7">
                  <c:v>0.576519196848889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Dollar Shave Club (2.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 (38.7%)</c:v>
                </c:pt>
                <c:pt idx="1">
                  <c:v>Equate (21.7%)</c:v>
                </c:pt>
                <c:pt idx="2">
                  <c:v>Harrys (11.2%)</c:v>
                </c:pt>
                <c:pt idx="3">
                  <c:v>Bic (16.9%)</c:v>
                </c:pt>
                <c:pt idx="4">
                  <c:v>Schick (11.2%)</c:v>
                </c:pt>
                <c:pt idx="5">
                  <c:v>Van Der Hagen (2.0%)</c:v>
                </c:pt>
              </c:strCache>
            </c:strRef>
          </c:cat>
          <c:val>
            <c:numRef>
              <c:f>Sheet1!$B$2:$B$7</c:f>
              <c:numCache>
                <c:formatCode>General</c:formatCode>
                <c:ptCount val="6"/>
                <c:pt idx="0">
                  <c:v>0.17829418364610983</c:v>
                </c:pt>
                <c:pt idx="1">
                  <c:v>0.17321899474725616</c:v>
                </c:pt>
                <c:pt idx="2">
                  <c:v>0.17176393183345467</c:v>
                </c:pt>
                <c:pt idx="3">
                  <c:v>0.15946008053288507</c:v>
                </c:pt>
                <c:pt idx="4">
                  <c:v>0.06708903695876142</c:v>
                </c:pt>
                <c:pt idx="5">
                  <c:v>0.00488375152808343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5</c:f>
              <c:strCache>
                <c:ptCount val="14"/>
                <c:pt idx="0">
                  <c:v>5</c:v>
                </c:pt>
                <c:pt idx="1">
                  <c:v>6</c:v>
                </c:pt>
                <c:pt idx="2">
                  <c:v>6</c:v>
                </c:pt>
                <c:pt idx="3">
                  <c:v>6</c:v>
                </c:pt>
                <c:pt idx="4">
                  <c:v>6</c:v>
                </c:pt>
                <c:pt idx="5">
                  <c:v>6</c:v>
                </c:pt>
                <c:pt idx="6">
                  <c:v>7</c:v>
                </c:pt>
                <c:pt idx="7">
                  <c:v>7</c:v>
                </c:pt>
                <c:pt idx="8">
                  <c:v>7</c:v>
                </c:pt>
                <c:pt idx="9">
                  <c:v>7</c:v>
                </c:pt>
                <c:pt idx="10">
                  <c:v>7</c:v>
                </c:pt>
                <c:pt idx="11">
                  <c:v>8</c:v>
                </c:pt>
                <c:pt idx="12">
                  <c:v>8</c:v>
                </c:pt>
                <c:pt idx="13">
                  <c:v>8</c:v>
                </c:pt>
              </c:strCache>
            </c:strRef>
          </c:cat>
          <c:val>
            <c:numRef>
              <c:f>Sheet1!$B$2:$B$15</c:f>
              <c:numCache>
                <c:formatCode>General</c:formatCode>
                <c:ptCount val="14"/>
                <c:pt idx="0">
                  <c:v>123.29509599530839</c:v>
                </c:pt>
                <c:pt idx="1">
                  <c:v>117.73524507682274</c:v>
                </c:pt>
                <c:pt idx="2">
                  <c:v>112.68327573444164</c:v>
                </c:pt>
                <c:pt idx="3">
                  <c:v>108.07779636054107</c:v>
                </c:pt>
                <c:pt idx="4">
                  <c:v>103.86546967104957</c:v>
                </c:pt>
                <c:pt idx="5">
                  <c:v>100.0</c:v>
                </c:pt>
                <c:pt idx="6">
                  <c:v>88.17631882606126</c:v>
                </c:pt>
                <c:pt idx="7">
                  <c:v>78.88887206041859</c:v>
                </c:pt>
                <c:pt idx="8">
                  <c:v>71.45277346342408</c:v>
                </c:pt>
                <c:pt idx="9">
                  <c:v>67.86104026022105</c:v>
                </c:pt>
                <c:pt idx="10">
                  <c:v>64.57789384850247</c:v>
                </c:pt>
                <c:pt idx="11">
                  <c:v>61.5693558039826</c:v>
                </c:pt>
                <c:pt idx="12">
                  <c:v>58.805656345526046</c:v>
                </c:pt>
                <c:pt idx="13">
                  <c:v>56.26068693546870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5</c:f>
              <c:strCache>
                <c:ptCount val="14"/>
                <c:pt idx="0">
                  <c:v>5</c:v>
                </c:pt>
                <c:pt idx="1">
                  <c:v>6</c:v>
                </c:pt>
                <c:pt idx="2">
                  <c:v>6</c:v>
                </c:pt>
                <c:pt idx="3">
                  <c:v>6</c:v>
                </c:pt>
                <c:pt idx="4">
                  <c:v>6</c:v>
                </c:pt>
                <c:pt idx="5">
                  <c:v>6</c:v>
                </c:pt>
                <c:pt idx="6">
                  <c:v>7</c:v>
                </c:pt>
                <c:pt idx="7">
                  <c:v>7</c:v>
                </c:pt>
                <c:pt idx="8">
                  <c:v>7</c:v>
                </c:pt>
                <c:pt idx="9">
                  <c:v>7</c:v>
                </c:pt>
                <c:pt idx="10">
                  <c:v>7</c:v>
                </c:pt>
                <c:pt idx="11">
                  <c:v>8</c:v>
                </c:pt>
                <c:pt idx="12">
                  <c:v>8</c:v>
                </c:pt>
                <c:pt idx="13">
                  <c:v>8</c:v>
                </c:pt>
              </c:strCache>
            </c:strRef>
          </c:cat>
          <c:val>
            <c:numRef>
              <c:f>Sheet1!$C$2:$C$15</c:f>
              <c:numCache>
                <c:formatCode>General</c:formatCode>
                <c:ptCount val="14"/>
                <c:pt idx="0">
                  <c:v>104.28957859641568</c:v>
                </c:pt>
                <c:pt idx="1">
                  <c:v>103.21645650514799</c:v>
                </c:pt>
                <c:pt idx="2">
                  <c:v>102.26145082979976</c:v>
                </c:pt>
                <c:pt idx="3">
                  <c:v>101.41390420731587</c:v>
                </c:pt>
                <c:pt idx="4">
                  <c:v>100.66340213346206</c:v>
                </c:pt>
                <c:pt idx="5">
                  <c:v>100.0</c:v>
                </c:pt>
                <c:pt idx="6">
                  <c:v>90.89968024273593</c:v>
                </c:pt>
                <c:pt idx="7">
                  <c:v>83.76173082645515</c:v>
                </c:pt>
                <c:pt idx="8">
                  <c:v>78.0728721797245</c:v>
                </c:pt>
                <c:pt idx="9">
                  <c:v>76.24198945956778</c:v>
                </c:pt>
                <c:pt idx="10">
                  <c:v>74.54581499323491</c:v>
                </c:pt>
                <c:pt idx="11">
                  <c:v>72.97260950253992</c:v>
                </c:pt>
                <c:pt idx="12">
                  <c:v>71.51156520845518</c:v>
                </c:pt>
                <c:pt idx="13">
                  <c:v>70.15277098496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5</c:f>
              <c:strCache>
                <c:ptCount val="14"/>
                <c:pt idx="0">
                  <c:v>5</c:v>
                </c:pt>
                <c:pt idx="1">
                  <c:v>6</c:v>
                </c:pt>
                <c:pt idx="2">
                  <c:v>6</c:v>
                </c:pt>
                <c:pt idx="3">
                  <c:v>6</c:v>
                </c:pt>
                <c:pt idx="4">
                  <c:v>6</c:v>
                </c:pt>
                <c:pt idx="5">
                  <c:v>6</c:v>
                </c:pt>
                <c:pt idx="6">
                  <c:v>7</c:v>
                </c:pt>
                <c:pt idx="7">
                  <c:v>7</c:v>
                </c:pt>
                <c:pt idx="8">
                  <c:v>7</c:v>
                </c:pt>
                <c:pt idx="9">
                  <c:v>7</c:v>
                </c:pt>
                <c:pt idx="10">
                  <c:v>7</c:v>
                </c:pt>
                <c:pt idx="11">
                  <c:v>8</c:v>
                </c:pt>
                <c:pt idx="12">
                  <c:v>8</c:v>
                </c:pt>
                <c:pt idx="13">
                  <c:v>8</c:v>
                </c:pt>
              </c:strCache>
            </c:strRef>
          </c:cat>
          <c:val>
            <c:numRef>
              <c:f>Sheet1!$D$2:$D$15</c:f>
              <c:numCache>
                <c:formatCode>General</c:formatCode>
                <c:ptCount val="14"/>
                <c:pt idx="0">
                  <c:v>68.26340250667107</c:v>
                </c:pt>
                <c:pt idx="1">
                  <c:v>75.69516315743252</c:v>
                </c:pt>
                <c:pt idx="2">
                  <c:v>82.50615583463944</c:v>
                </c:pt>
                <c:pt idx="3">
                  <c:v>88.78196268856118</c:v>
                </c:pt>
                <c:pt idx="4">
                  <c:v>94.59357990958156</c:v>
                </c:pt>
                <c:pt idx="5">
                  <c:v>100.0</c:v>
                </c:pt>
                <c:pt idx="6">
                  <c:v>96.04766538923168</c:v>
                </c:pt>
                <c:pt idx="7">
                  <c:v>92.97341675977462</c:v>
                </c:pt>
                <c:pt idx="8">
                  <c:v>90.58816776151593</c:v>
                </c:pt>
                <c:pt idx="9">
                  <c:v>92.09238822924428</c:v>
                </c:pt>
                <c:pt idx="10">
                  <c:v>93.40167497072788</c:v>
                </c:pt>
                <c:pt idx="11">
                  <c:v>94.5464914106725</c:v>
                </c:pt>
                <c:pt idx="12">
                  <c:v>95.55200672542736</c:v>
                </c:pt>
                <c:pt idx="13">
                  <c:v>96.4390360112269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5</c:f>
              <c:strCache>
                <c:ptCount val="14"/>
                <c:pt idx="0">
                  <c:v>5</c:v>
                </c:pt>
                <c:pt idx="1">
                  <c:v>6</c:v>
                </c:pt>
                <c:pt idx="2">
                  <c:v>6</c:v>
                </c:pt>
                <c:pt idx="3">
                  <c:v>6</c:v>
                </c:pt>
                <c:pt idx="4">
                  <c:v>6</c:v>
                </c:pt>
                <c:pt idx="5">
                  <c:v>6</c:v>
                </c:pt>
                <c:pt idx="6">
                  <c:v>7</c:v>
                </c:pt>
                <c:pt idx="7">
                  <c:v>7</c:v>
                </c:pt>
                <c:pt idx="8">
                  <c:v>7</c:v>
                </c:pt>
                <c:pt idx="9">
                  <c:v>7</c:v>
                </c:pt>
                <c:pt idx="10">
                  <c:v>7</c:v>
                </c:pt>
                <c:pt idx="11">
                  <c:v>8</c:v>
                </c:pt>
                <c:pt idx="12">
                  <c:v>8</c:v>
                </c:pt>
                <c:pt idx="13">
                  <c:v>8</c:v>
                </c:pt>
              </c:strCache>
            </c:strRef>
          </c:cat>
          <c:val>
            <c:numRef>
              <c:f>Sheet1!$E$2:$E$15</c:f>
              <c:numCache>
                <c:formatCode>General</c:formatCode>
                <c:ptCount val="14"/>
                <c:pt idx="0">
                  <c:v>0.22677111085179383</c:v>
                </c:pt>
                <c:pt idx="1">
                  <c:v>0.2540454984760692</c:v>
                </c:pt>
                <c:pt idx="2">
                  <c:v>0.27946132476308544</c:v>
                </c:pt>
                <c:pt idx="3">
                  <c:v>0.30320230253036445</c:v>
                </c:pt>
                <c:pt idx="4">
                  <c:v>0.3254287043635266</c:v>
                </c:pt>
                <c:pt idx="5">
                  <c:v>0.34628098552694175</c:v>
                </c:pt>
                <c:pt idx="6">
                  <c:v>0.3658827550763587</c:v>
                </c:pt>
                <c:pt idx="7">
                  <c:v>0.3843432279999</c:v>
                </c:pt>
                <c:pt idx="8">
                  <c:v>0.40175926115407523</c:v>
                </c:pt>
                <c:pt idx="9">
                  <c:v>0.4182170531443346</c:v>
                </c:pt>
                <c:pt idx="10">
                  <c:v>0.4337935711324382</c:v>
                </c:pt>
                <c:pt idx="11">
                  <c:v>0.4485577544145126</c:v>
                </c:pt>
                <c:pt idx="12">
                  <c:v>0.4625715344802177</c:v>
                </c:pt>
                <c:pt idx="13">
                  <c:v>0.4758907033902494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2</c:f>
              <c:strCache>
                <c:ptCount val="11"/>
                <c:pt idx="0">
                  <c:v>5</c:v>
                </c:pt>
                <c:pt idx="1">
                  <c:v>5</c:v>
                </c:pt>
                <c:pt idx="2">
                  <c:v>5</c:v>
                </c:pt>
                <c:pt idx="3">
                  <c:v>5</c:v>
                </c:pt>
                <c:pt idx="4">
                  <c:v>5</c:v>
                </c:pt>
                <c:pt idx="5">
                  <c:v>6</c:v>
                </c:pt>
                <c:pt idx="6">
                  <c:v>6</c:v>
                </c:pt>
                <c:pt idx="7">
                  <c:v>6</c:v>
                </c:pt>
                <c:pt idx="8">
                  <c:v>6</c:v>
                </c:pt>
                <c:pt idx="9">
                  <c:v>6</c:v>
                </c:pt>
                <c:pt idx="10">
                  <c:v>7</c:v>
                </c:pt>
              </c:strCache>
            </c:strRef>
          </c:cat>
          <c:val>
            <c:numRef>
              <c:f>Sheet1!$B$2:$B$12</c:f>
              <c:numCache>
                <c:formatCode>General</c:formatCode>
                <c:ptCount val="11"/>
                <c:pt idx="0">
                  <c:v>111.51760915153864</c:v>
                </c:pt>
                <c:pt idx="1">
                  <c:v>108.47939538350889</c:v>
                </c:pt>
                <c:pt idx="2">
                  <c:v>105.54999886329963</c:v>
                </c:pt>
                <c:pt idx="3">
                  <c:v>102.7249604875911</c:v>
                </c:pt>
                <c:pt idx="4">
                  <c:v>100.0</c:v>
                </c:pt>
                <c:pt idx="5">
                  <c:v>95.00117574145456</c:v>
                </c:pt>
                <c:pt idx="6">
                  <c:v>90.39977780952563</c:v>
                </c:pt>
                <c:pt idx="7">
                  <c:v>86.16664150939576</c:v>
                </c:pt>
                <c:pt idx="8">
                  <c:v>82.27200365638262</c:v>
                </c:pt>
                <c:pt idx="9">
                  <c:v>78.68652278149591</c:v>
                </c:pt>
                <c:pt idx="10">
                  <c:v>70.1277185023051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2</c:f>
              <c:strCache>
                <c:ptCount val="11"/>
                <c:pt idx="0">
                  <c:v>5</c:v>
                </c:pt>
                <c:pt idx="1">
                  <c:v>5</c:v>
                </c:pt>
                <c:pt idx="2">
                  <c:v>5</c:v>
                </c:pt>
                <c:pt idx="3">
                  <c:v>5</c:v>
                </c:pt>
                <c:pt idx="4">
                  <c:v>5</c:v>
                </c:pt>
                <c:pt idx="5">
                  <c:v>6</c:v>
                </c:pt>
                <c:pt idx="6">
                  <c:v>6</c:v>
                </c:pt>
                <c:pt idx="7">
                  <c:v>6</c:v>
                </c:pt>
                <c:pt idx="8">
                  <c:v>6</c:v>
                </c:pt>
                <c:pt idx="9">
                  <c:v>6</c:v>
                </c:pt>
                <c:pt idx="10">
                  <c:v>7</c:v>
                </c:pt>
              </c:strCache>
            </c:strRef>
          </c:cat>
          <c:val>
            <c:numRef>
              <c:f>Sheet1!$C$2:$C$12</c:f>
              <c:numCache>
                <c:formatCode>General</c:formatCode>
                <c:ptCount val="11"/>
                <c:pt idx="0">
                  <c:v>95.45780744576045</c:v>
                </c:pt>
                <c:pt idx="1">
                  <c:v>96.76536136632838</c:v>
                </c:pt>
                <c:pt idx="2">
                  <c:v>97.95311240548745</c:v>
                </c:pt>
                <c:pt idx="3">
                  <c:v>99.02888779548714</c:v>
                </c:pt>
                <c:pt idx="4">
                  <c:v>100.0</c:v>
                </c:pt>
                <c:pt idx="5">
                  <c:v>98.43293638616811</c:v>
                </c:pt>
                <c:pt idx="6">
                  <c:v>96.93144328918272</c:v>
                </c:pt>
                <c:pt idx="7">
                  <c:v>95.50608205630489</c:v>
                </c:pt>
                <c:pt idx="8">
                  <c:v>94.16255032894124</c:v>
                </c:pt>
                <c:pt idx="9">
                  <c:v>92.90277615782185</c:v>
                </c:pt>
                <c:pt idx="10">
                  <c:v>85.3513754163297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2</c:f>
              <c:strCache>
                <c:ptCount val="11"/>
                <c:pt idx="0">
                  <c:v>5</c:v>
                </c:pt>
                <c:pt idx="1">
                  <c:v>5</c:v>
                </c:pt>
                <c:pt idx="2">
                  <c:v>5</c:v>
                </c:pt>
                <c:pt idx="3">
                  <c:v>5</c:v>
                </c:pt>
                <c:pt idx="4">
                  <c:v>5</c:v>
                </c:pt>
                <c:pt idx="5">
                  <c:v>6</c:v>
                </c:pt>
                <c:pt idx="6">
                  <c:v>6</c:v>
                </c:pt>
                <c:pt idx="7">
                  <c:v>6</c:v>
                </c:pt>
                <c:pt idx="8">
                  <c:v>6</c:v>
                </c:pt>
                <c:pt idx="9">
                  <c:v>6</c:v>
                </c:pt>
                <c:pt idx="10">
                  <c:v>7</c:v>
                </c:pt>
              </c:strCache>
            </c:strRef>
          </c:cat>
          <c:val>
            <c:numRef>
              <c:f>Sheet1!$D$2:$D$12</c:f>
              <c:numCache>
                <c:formatCode>General</c:formatCode>
                <c:ptCount val="11"/>
                <c:pt idx="0">
                  <c:v>78.19250392262332</c:v>
                </c:pt>
                <c:pt idx="1">
                  <c:v>84.16650461789833</c:v>
                </c:pt>
                <c:pt idx="2">
                  <c:v>89.77910471575939</c:v>
                </c:pt>
                <c:pt idx="3">
                  <c:v>95.05056685610346</c:v>
                </c:pt>
                <c:pt idx="4">
                  <c:v>100.0</c:v>
                </c:pt>
                <c:pt idx="5">
                  <c:v>102.098539562608</c:v>
                </c:pt>
                <c:pt idx="6">
                  <c:v>103.90698143007337</c:v>
                </c:pt>
                <c:pt idx="7">
                  <c:v>105.47869736342321</c:v>
                </c:pt>
                <c:pt idx="8">
                  <c:v>106.85756642178399</c:v>
                </c:pt>
                <c:pt idx="9">
                  <c:v>108.07915269597311</c:v>
                </c:pt>
                <c:pt idx="10">
                  <c:v>101.56239885907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2</c:f>
              <c:strCache>
                <c:ptCount val="11"/>
                <c:pt idx="0">
                  <c:v>5</c:v>
                </c:pt>
                <c:pt idx="1">
                  <c:v>5</c:v>
                </c:pt>
                <c:pt idx="2">
                  <c:v>5</c:v>
                </c:pt>
                <c:pt idx="3">
                  <c:v>5</c:v>
                </c:pt>
                <c:pt idx="4">
                  <c:v>5</c:v>
                </c:pt>
                <c:pt idx="5">
                  <c:v>6</c:v>
                </c:pt>
                <c:pt idx="6">
                  <c:v>6</c:v>
                </c:pt>
                <c:pt idx="7">
                  <c:v>6</c:v>
                </c:pt>
                <c:pt idx="8">
                  <c:v>6</c:v>
                </c:pt>
                <c:pt idx="9">
                  <c:v>6</c:v>
                </c:pt>
                <c:pt idx="10">
                  <c:v>7</c:v>
                </c:pt>
              </c:strCache>
            </c:strRef>
          </c:cat>
          <c:val>
            <c:numRef>
              <c:f>Sheet1!$E$2:$E$12</c:f>
              <c:numCache>
                <c:formatCode>General</c:formatCode>
                <c:ptCount val="11"/>
                <c:pt idx="0">
                  <c:v>0.4019450619484276</c:v>
                </c:pt>
                <c:pt idx="1">
                  <c:v>0.42650583969181866</c:v>
                </c:pt>
                <c:pt idx="2">
                  <c:v>0.44912888349095786</c:v>
                </c:pt>
                <c:pt idx="3">
                  <c:v>0.4700348082161587</c:v>
                </c:pt>
                <c:pt idx="4">
                  <c:v>0.4894119633088038</c:v>
                </c:pt>
                <c:pt idx="5">
                  <c:v>0.5074221233331846</c:v>
                </c:pt>
                <c:pt idx="6">
                  <c:v>0.5242050152128035</c:v>
                </c:pt>
                <c:pt idx="7">
                  <c:v>0.5398819504611461</c:v>
                </c:pt>
                <c:pt idx="8">
                  <c:v>0.5545587622486693</c:v>
                </c:pt>
                <c:pt idx="9">
                  <c:v>0.5683281977278449</c:v>
                </c:pt>
                <c:pt idx="10">
                  <c:v>0.581271879954895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8</c:f>
              <c:strCache>
                <c:ptCount val="17"/>
                <c:pt idx="0">
                  <c:v>7</c:v>
                </c:pt>
                <c:pt idx="1">
                  <c:v>7</c:v>
                </c:pt>
                <c:pt idx="2">
                  <c:v>8</c:v>
                </c:pt>
                <c:pt idx="3">
                  <c:v>8</c:v>
                </c:pt>
                <c:pt idx="4">
                  <c:v>8</c:v>
                </c:pt>
                <c:pt idx="5">
                  <c:v>8</c:v>
                </c:pt>
                <c:pt idx="6">
                  <c:v>8</c:v>
                </c:pt>
                <c:pt idx="7">
                  <c:v>9</c:v>
                </c:pt>
                <c:pt idx="8">
                  <c:v>9</c:v>
                </c:pt>
                <c:pt idx="9">
                  <c:v>9</c:v>
                </c:pt>
                <c:pt idx="10">
                  <c:v>9</c:v>
                </c:pt>
                <c:pt idx="11">
                  <c:v>9</c:v>
                </c:pt>
                <c:pt idx="12">
                  <c:v>10</c:v>
                </c:pt>
                <c:pt idx="13">
                  <c:v>10</c:v>
                </c:pt>
                <c:pt idx="14">
                  <c:v>10</c:v>
                </c:pt>
                <c:pt idx="15">
                  <c:v>10</c:v>
                </c:pt>
                <c:pt idx="16">
                  <c:v>10</c:v>
                </c:pt>
              </c:strCache>
            </c:strRef>
          </c:cat>
          <c:val>
            <c:numRef>
              <c:f>Sheet1!$B$2:$B$18</c:f>
              <c:numCache>
                <c:formatCode>General</c:formatCode>
                <c:ptCount val="17"/>
                <c:pt idx="0">
                  <c:v>120.49891342294426</c:v>
                </c:pt>
                <c:pt idx="1">
                  <c:v>116.79506325322532</c:v>
                </c:pt>
                <c:pt idx="2">
                  <c:v>113.36598384279361</c:v>
                </c:pt>
                <c:pt idx="3">
                  <c:v>110.18202939895852</c:v>
                </c:pt>
                <c:pt idx="4">
                  <c:v>107.21733071232971</c:v>
                </c:pt>
                <c:pt idx="5">
                  <c:v>103.76389102914419</c:v>
                </c:pt>
                <c:pt idx="6">
                  <c:v>100.0</c:v>
                </c:pt>
                <c:pt idx="7">
                  <c:v>96.61570434056237</c:v>
                </c:pt>
                <c:pt idx="8">
                  <c:v>93.5526845109947</c:v>
                </c:pt>
                <c:pt idx="9">
                  <c:v>90.76339477756657</c:v>
                </c:pt>
                <c:pt idx="10">
                  <c:v>89.45382009431532</c:v>
                </c:pt>
                <c:pt idx="11">
                  <c:v>88.18741919773167</c:v>
                </c:pt>
                <c:pt idx="12">
                  <c:v>86.9619300690617</c:v>
                </c:pt>
                <c:pt idx="13">
                  <c:v>85.77524052900944</c:v>
                </c:pt>
                <c:pt idx="14">
                  <c:v>84.62537704758905</c:v>
                </c:pt>
                <c:pt idx="15">
                  <c:v>81.52705504091743</c:v>
                </c:pt>
                <c:pt idx="16">
                  <c:v>78.7783721001068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8</c:f>
              <c:strCache>
                <c:ptCount val="17"/>
                <c:pt idx="0">
                  <c:v>7</c:v>
                </c:pt>
                <c:pt idx="1">
                  <c:v>7</c:v>
                </c:pt>
                <c:pt idx="2">
                  <c:v>8</c:v>
                </c:pt>
                <c:pt idx="3">
                  <c:v>8</c:v>
                </c:pt>
                <c:pt idx="4">
                  <c:v>8</c:v>
                </c:pt>
                <c:pt idx="5">
                  <c:v>8</c:v>
                </c:pt>
                <c:pt idx="6">
                  <c:v>8</c:v>
                </c:pt>
                <c:pt idx="7">
                  <c:v>9</c:v>
                </c:pt>
                <c:pt idx="8">
                  <c:v>9</c:v>
                </c:pt>
                <c:pt idx="9">
                  <c:v>9</c:v>
                </c:pt>
                <c:pt idx="10">
                  <c:v>9</c:v>
                </c:pt>
                <c:pt idx="11">
                  <c:v>9</c:v>
                </c:pt>
                <c:pt idx="12">
                  <c:v>10</c:v>
                </c:pt>
                <c:pt idx="13">
                  <c:v>10</c:v>
                </c:pt>
                <c:pt idx="14">
                  <c:v>10</c:v>
                </c:pt>
                <c:pt idx="15">
                  <c:v>10</c:v>
                </c:pt>
                <c:pt idx="16">
                  <c:v>10</c:v>
                </c:pt>
              </c:strCache>
            </c:strRef>
          </c:cat>
          <c:val>
            <c:numRef>
              <c:f>Sheet1!$C$2:$C$18</c:f>
              <c:numCache>
                <c:formatCode>General</c:formatCode>
                <c:ptCount val="17"/>
                <c:pt idx="0">
                  <c:v>103.28875417255345</c:v>
                </c:pt>
                <c:pt idx="1">
                  <c:v>102.89385136654181</c:v>
                </c:pt>
                <c:pt idx="2">
                  <c:v>102.57110874454507</c:v>
                </c:pt>
                <c:pt idx="3">
                  <c:v>102.31262206442106</c:v>
                </c:pt>
                <c:pt idx="4">
                  <c:v>102.11126233181334</c:v>
                </c:pt>
                <c:pt idx="5">
                  <c:v>101.29264354741237</c:v>
                </c:pt>
                <c:pt idx="6">
                  <c:v>100.0</c:v>
                </c:pt>
                <c:pt idx="7">
                  <c:v>98.91652212110596</c:v>
                </c:pt>
                <c:pt idx="8">
                  <c:v>98.0082582805555</c:v>
                </c:pt>
                <c:pt idx="9">
                  <c:v>97.24724150974046</c:v>
                </c:pt>
                <c:pt idx="10">
                  <c:v>97.9717584416346</c:v>
                </c:pt>
                <c:pt idx="11">
                  <c:v>98.68212342000918</c:v>
                </c:pt>
                <c:pt idx="12">
                  <c:v>99.37884340916149</c:v>
                </c:pt>
                <c:pt idx="13">
                  <c:v>100.06238413502034</c:v>
                </c:pt>
                <c:pt idx="14">
                  <c:v>100.73317466212642</c:v>
                </c:pt>
                <c:pt idx="15">
                  <c:v>98.98767998082545</c:v>
                </c:pt>
                <c:pt idx="16">
                  <c:v>97.5271166340454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8</c:f>
              <c:strCache>
                <c:ptCount val="17"/>
                <c:pt idx="0">
                  <c:v>7</c:v>
                </c:pt>
                <c:pt idx="1">
                  <c:v>7</c:v>
                </c:pt>
                <c:pt idx="2">
                  <c:v>8</c:v>
                </c:pt>
                <c:pt idx="3">
                  <c:v>8</c:v>
                </c:pt>
                <c:pt idx="4">
                  <c:v>8</c:v>
                </c:pt>
                <c:pt idx="5">
                  <c:v>8</c:v>
                </c:pt>
                <c:pt idx="6">
                  <c:v>8</c:v>
                </c:pt>
                <c:pt idx="7">
                  <c:v>9</c:v>
                </c:pt>
                <c:pt idx="8">
                  <c:v>9</c:v>
                </c:pt>
                <c:pt idx="9">
                  <c:v>9</c:v>
                </c:pt>
                <c:pt idx="10">
                  <c:v>9</c:v>
                </c:pt>
                <c:pt idx="11">
                  <c:v>9</c:v>
                </c:pt>
                <c:pt idx="12">
                  <c:v>10</c:v>
                </c:pt>
                <c:pt idx="13">
                  <c:v>10</c:v>
                </c:pt>
                <c:pt idx="14">
                  <c:v>10</c:v>
                </c:pt>
                <c:pt idx="15">
                  <c:v>10</c:v>
                </c:pt>
                <c:pt idx="16">
                  <c:v>10</c:v>
                </c:pt>
              </c:strCache>
            </c:strRef>
          </c:cat>
          <c:val>
            <c:numRef>
              <c:f>Sheet1!$D$2:$D$18</c:f>
              <c:numCache>
                <c:formatCode>General</c:formatCode>
                <c:ptCount val="17"/>
                <c:pt idx="0">
                  <c:v>74.24954919755669</c:v>
                </c:pt>
                <c:pt idx="1">
                  <c:v>79.43858933240556</c:v>
                </c:pt>
                <c:pt idx="2">
                  <c:v>84.35822751494602</c:v>
                </c:pt>
                <c:pt idx="3">
                  <c:v>89.0372378651185</c:v>
                </c:pt>
                <c:pt idx="4">
                  <c:v>93.50010223690634</c:v>
                </c:pt>
                <c:pt idx="5">
                  <c:v>97.12619080246802</c:v>
                </c:pt>
                <c:pt idx="6">
                  <c:v>100.0</c:v>
                </c:pt>
                <c:pt idx="7">
                  <c:v>102.79614029223387</c:v>
                </c:pt>
                <c:pt idx="8">
                  <c:v>105.5216781373111</c:v>
                </c:pt>
                <c:pt idx="9">
                  <c:v>108.18159874371554</c:v>
                </c:pt>
                <c:pt idx="10">
                  <c:v>112.34300190999431</c:v>
                </c:pt>
                <c:pt idx="11">
                  <c:v>116.39384277114841</c:v>
                </c:pt>
                <c:pt idx="12">
                  <c:v>120.33927649699154</c:v>
                </c:pt>
                <c:pt idx="13">
                  <c:v>124.1840963938972</c:v>
                </c:pt>
                <c:pt idx="14">
                  <c:v>127.93276491364945</c:v>
                </c:pt>
                <c:pt idx="15">
                  <c:v>128.46408985354003</c:v>
                </c:pt>
                <c:pt idx="16">
                  <c:v>129.1723206268826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8</c:f>
              <c:strCache>
                <c:ptCount val="17"/>
                <c:pt idx="0">
                  <c:v>7</c:v>
                </c:pt>
                <c:pt idx="1">
                  <c:v>7</c:v>
                </c:pt>
                <c:pt idx="2">
                  <c:v>8</c:v>
                </c:pt>
                <c:pt idx="3">
                  <c:v>8</c:v>
                </c:pt>
                <c:pt idx="4">
                  <c:v>8</c:v>
                </c:pt>
                <c:pt idx="5">
                  <c:v>8</c:v>
                </c:pt>
                <c:pt idx="6">
                  <c:v>8</c:v>
                </c:pt>
                <c:pt idx="7">
                  <c:v>9</c:v>
                </c:pt>
                <c:pt idx="8">
                  <c:v>9</c:v>
                </c:pt>
                <c:pt idx="9">
                  <c:v>9</c:v>
                </c:pt>
                <c:pt idx="10">
                  <c:v>9</c:v>
                </c:pt>
                <c:pt idx="11">
                  <c:v>9</c:v>
                </c:pt>
                <c:pt idx="12">
                  <c:v>10</c:v>
                </c:pt>
                <c:pt idx="13">
                  <c:v>10</c:v>
                </c:pt>
                <c:pt idx="14">
                  <c:v>10</c:v>
                </c:pt>
                <c:pt idx="15">
                  <c:v>10</c:v>
                </c:pt>
                <c:pt idx="16">
                  <c:v>10</c:v>
                </c:pt>
              </c:strCache>
            </c:strRef>
          </c:cat>
          <c:val>
            <c:numRef>
              <c:f>Sheet1!$E$2:$E$18</c:f>
              <c:numCache>
                <c:formatCode>General</c:formatCode>
                <c:ptCount val="17"/>
                <c:pt idx="0">
                  <c:v>0.26868915935818993</c:v>
                </c:pt>
                <c:pt idx="1">
                  <c:v>0.2885347724013869</c:v>
                </c:pt>
                <c:pt idx="2">
                  <c:v>0.3073317401054455</c:v>
                </c:pt>
                <c:pt idx="3">
                  <c:v>0.32516103894443005</c:v>
                </c:pt>
                <c:pt idx="4">
                  <c:v>0.3420955172645197</c:v>
                </c:pt>
                <c:pt idx="5">
                  <c:v>0.3582008901589012</c:v>
                </c:pt>
                <c:pt idx="6">
                  <c:v>0.37353659170827014</c:v>
                </c:pt>
                <c:pt idx="7">
                  <c:v>0.38815650788777384</c:v>
                </c:pt>
                <c:pt idx="8">
                  <c:v>0.40210960919021926</c:v>
                </c:pt>
                <c:pt idx="9">
                  <c:v>0.415440498617416</c:v>
                </c:pt>
                <c:pt idx="10">
                  <c:v>0.42818988796054763</c:v>
                </c:pt>
                <c:pt idx="11">
                  <c:v>0.4403950130841219</c:v>
                </c:pt>
                <c:pt idx="12">
                  <c:v>0.45208999713670023</c:v>
                </c:pt>
                <c:pt idx="13">
                  <c:v>0.4633061691502785</c:v>
                </c:pt>
                <c:pt idx="14">
                  <c:v>0.47407234429270023</c:v>
                </c:pt>
                <c:pt idx="15">
                  <c:v>0.4844150710519392</c:v>
                </c:pt>
                <c:pt idx="16">
                  <c:v>0.4943588498166076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0</c:f>
              <c:strCache>
                <c:ptCount val="9"/>
                <c:pt idx="0">
                  <c:v>3</c:v>
                </c:pt>
                <c:pt idx="1">
                  <c:v>4</c:v>
                </c:pt>
                <c:pt idx="2">
                  <c:v>4</c:v>
                </c:pt>
                <c:pt idx="3">
                  <c:v>4</c:v>
                </c:pt>
                <c:pt idx="4">
                  <c:v>4</c:v>
                </c:pt>
                <c:pt idx="5">
                  <c:v>4</c:v>
                </c:pt>
                <c:pt idx="6">
                  <c:v>5</c:v>
                </c:pt>
                <c:pt idx="7">
                  <c:v>5</c:v>
                </c:pt>
                <c:pt idx="8">
                  <c:v>5</c:v>
                </c:pt>
              </c:strCache>
            </c:strRef>
          </c:cat>
          <c:val>
            <c:numRef>
              <c:f>Sheet1!$B$2:$B$10</c:f>
              <c:numCache>
                <c:formatCode>General</c:formatCode>
                <c:ptCount val="9"/>
                <c:pt idx="0">
                  <c:v>106.26056309135427</c:v>
                </c:pt>
                <c:pt idx="1">
                  <c:v>103.78345874917969</c:v>
                </c:pt>
                <c:pt idx="2">
                  <c:v>101.39320818822645</c:v>
                </c:pt>
                <c:pt idx="3">
                  <c:v>100.0</c:v>
                </c:pt>
                <c:pt idx="4">
                  <c:v>98.64027858132243</c:v>
                </c:pt>
                <c:pt idx="5">
                  <c:v>97.3128033780638</c:v>
                </c:pt>
                <c:pt idx="6">
                  <c:v>96.01639166782567</c:v>
                </c:pt>
                <c:pt idx="7">
                  <c:v>93.35335714855553</c:v>
                </c:pt>
                <c:pt idx="8">
                  <c:v>90.7847289625769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0</c:f>
              <c:strCache>
                <c:ptCount val="9"/>
                <c:pt idx="0">
                  <c:v>3</c:v>
                </c:pt>
                <c:pt idx="1">
                  <c:v>4</c:v>
                </c:pt>
                <c:pt idx="2">
                  <c:v>4</c:v>
                </c:pt>
                <c:pt idx="3">
                  <c:v>4</c:v>
                </c:pt>
                <c:pt idx="4">
                  <c:v>4</c:v>
                </c:pt>
                <c:pt idx="5">
                  <c:v>4</c:v>
                </c:pt>
                <c:pt idx="6">
                  <c:v>5</c:v>
                </c:pt>
                <c:pt idx="7">
                  <c:v>5</c:v>
                </c:pt>
                <c:pt idx="8">
                  <c:v>5</c:v>
                </c:pt>
              </c:strCache>
            </c:strRef>
          </c:cat>
          <c:val>
            <c:numRef>
              <c:f>Sheet1!$C$2:$C$10</c:f>
              <c:numCache>
                <c:formatCode>General</c:formatCode>
                <c:ptCount val="9"/>
                <c:pt idx="0">
                  <c:v>90.40436487348722</c:v>
                </c:pt>
                <c:pt idx="1">
                  <c:v>93.46129815485872</c:v>
                </c:pt>
                <c:pt idx="2">
                  <c:v>96.34952459857811</c:v>
                </c:pt>
                <c:pt idx="3">
                  <c:v>100.0</c:v>
                </c:pt>
                <c:pt idx="4">
                  <c:v>103.54231739832309</c:v>
                </c:pt>
                <c:pt idx="5">
                  <c:v>106.98049910012716</c:v>
                </c:pt>
                <c:pt idx="6">
                  <c:v>110.31835794366474</c:v>
                </c:pt>
                <c:pt idx="7">
                  <c:v>111.8823681902018</c:v>
                </c:pt>
                <c:pt idx="8">
                  <c:v>113.2984026973604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0</c:f>
              <c:strCache>
                <c:ptCount val="9"/>
                <c:pt idx="0">
                  <c:v>3</c:v>
                </c:pt>
                <c:pt idx="1">
                  <c:v>4</c:v>
                </c:pt>
                <c:pt idx="2">
                  <c:v>4</c:v>
                </c:pt>
                <c:pt idx="3">
                  <c:v>4</c:v>
                </c:pt>
                <c:pt idx="4">
                  <c:v>4</c:v>
                </c:pt>
                <c:pt idx="5">
                  <c:v>4</c:v>
                </c:pt>
                <c:pt idx="6">
                  <c:v>5</c:v>
                </c:pt>
                <c:pt idx="7">
                  <c:v>5</c:v>
                </c:pt>
                <c:pt idx="8">
                  <c:v>5</c:v>
                </c:pt>
              </c:strCache>
            </c:strRef>
          </c:cat>
          <c:val>
            <c:numRef>
              <c:f>Sheet1!$D$2:$D$10</c:f>
              <c:numCache>
                <c:formatCode>General</c:formatCode>
                <c:ptCount val="9"/>
                <c:pt idx="0">
                  <c:v>72.76947424291053</c:v>
                </c:pt>
                <c:pt idx="1">
                  <c:v>81.97655355407393</c:v>
                </c:pt>
                <c:pt idx="2">
                  <c:v>90.74087444912877</c:v>
                </c:pt>
                <c:pt idx="3">
                  <c:v>100.0</c:v>
                </c:pt>
                <c:pt idx="4">
                  <c:v>109.00339053271864</c:v>
                </c:pt>
                <c:pt idx="5">
                  <c:v>117.76009915247027</c:v>
                </c:pt>
                <c:pt idx="6">
                  <c:v>126.27873369484392</c:v>
                </c:pt>
                <c:pt idx="7">
                  <c:v>132.58403674853528</c:v>
                </c:pt>
                <c:pt idx="8">
                  <c:v>138.473782726790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0</c:f>
              <c:strCache>
                <c:ptCount val="9"/>
                <c:pt idx="0">
                  <c:v>3</c:v>
                </c:pt>
                <c:pt idx="1">
                  <c:v>4</c:v>
                </c:pt>
                <c:pt idx="2">
                  <c:v>4</c:v>
                </c:pt>
                <c:pt idx="3">
                  <c:v>4</c:v>
                </c:pt>
                <c:pt idx="4">
                  <c:v>4</c:v>
                </c:pt>
                <c:pt idx="5">
                  <c:v>4</c:v>
                </c:pt>
                <c:pt idx="6">
                  <c:v>5</c:v>
                </c:pt>
                <c:pt idx="7">
                  <c:v>5</c:v>
                </c:pt>
                <c:pt idx="8">
                  <c:v>5</c:v>
                </c:pt>
              </c:strCache>
            </c:strRef>
          </c:cat>
          <c:val>
            <c:numRef>
              <c:f>Sheet1!$E$2:$E$10</c:f>
              <c:numCache>
                <c:formatCode>General</c:formatCode>
                <c:ptCount val="9"/>
                <c:pt idx="0">
                  <c:v>0.38684885815684716</c:v>
                </c:pt>
                <c:pt idx="1">
                  <c:v>0.4211990621816737</c:v>
                </c:pt>
                <c:pt idx="2">
                  <c:v>0.45190468222508623</c:v>
                </c:pt>
                <c:pt idx="3">
                  <c:v>0.4795165370248301</c:v>
                </c:pt>
                <c:pt idx="4">
                  <c:v>0.5044797726591307</c:v>
                </c:pt>
                <c:pt idx="5">
                  <c:v>0.5271580439333122</c:v>
                </c:pt>
                <c:pt idx="6">
                  <c:v>0.5478513461681784</c:v>
                </c:pt>
                <c:pt idx="7">
                  <c:v>0.5668093610038942</c:v>
                </c:pt>
                <c:pt idx="8">
                  <c:v>0.58424157987697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4</c:f>
              <c:strCache>
                <c:ptCount val="13"/>
                <c:pt idx="0">
                  <c:v>5</c:v>
                </c:pt>
                <c:pt idx="1">
                  <c:v>5</c:v>
                </c:pt>
                <c:pt idx="2">
                  <c:v>5</c:v>
                </c:pt>
                <c:pt idx="3">
                  <c:v>6</c:v>
                </c:pt>
                <c:pt idx="4">
                  <c:v>6</c:v>
                </c:pt>
                <c:pt idx="5">
                  <c:v>6</c:v>
                </c:pt>
                <c:pt idx="6">
                  <c:v>6</c:v>
                </c:pt>
                <c:pt idx="7">
                  <c:v>6</c:v>
                </c:pt>
                <c:pt idx="8">
                  <c:v>7</c:v>
                </c:pt>
                <c:pt idx="9">
                  <c:v>7</c:v>
                </c:pt>
                <c:pt idx="10">
                  <c:v>7</c:v>
                </c:pt>
                <c:pt idx="11">
                  <c:v>7</c:v>
                </c:pt>
                <c:pt idx="12">
                  <c:v>7</c:v>
                </c:pt>
              </c:strCache>
            </c:strRef>
          </c:cat>
          <c:val>
            <c:numRef>
              <c:f>Sheet1!$B$2:$B$14</c:f>
              <c:numCache>
                <c:formatCode>General</c:formatCode>
                <c:ptCount val="13"/>
                <c:pt idx="0">
                  <c:v>113.156707068393</c:v>
                </c:pt>
                <c:pt idx="1">
                  <c:v>111.06524444806918</c:v>
                </c:pt>
                <c:pt idx="2">
                  <c:v>109.04410030034595</c:v>
                </c:pt>
                <c:pt idx="3">
                  <c:v>106.32514214748177</c:v>
                </c:pt>
                <c:pt idx="4">
                  <c:v>103.0466459105561</c:v>
                </c:pt>
                <c:pt idx="5">
                  <c:v>100.0</c:v>
                </c:pt>
                <c:pt idx="6">
                  <c:v>97.16310689158043</c:v>
                </c:pt>
                <c:pt idx="7">
                  <c:v>94.51609035228505</c:v>
                </c:pt>
                <c:pt idx="8">
                  <c:v>88.70948525112367</c:v>
                </c:pt>
                <c:pt idx="9">
                  <c:v>80.65545120833355</c:v>
                </c:pt>
                <c:pt idx="10">
                  <c:v>73.72383793169689</c:v>
                </c:pt>
                <c:pt idx="11">
                  <c:v>69.16958533820498</c:v>
                </c:pt>
                <c:pt idx="12">
                  <c:v>66.4414113524373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4</c:f>
              <c:strCache>
                <c:ptCount val="13"/>
                <c:pt idx="0">
                  <c:v>5</c:v>
                </c:pt>
                <c:pt idx="1">
                  <c:v>5</c:v>
                </c:pt>
                <c:pt idx="2">
                  <c:v>5</c:v>
                </c:pt>
                <c:pt idx="3">
                  <c:v>6</c:v>
                </c:pt>
                <c:pt idx="4">
                  <c:v>6</c:v>
                </c:pt>
                <c:pt idx="5">
                  <c:v>6</c:v>
                </c:pt>
                <c:pt idx="6">
                  <c:v>6</c:v>
                </c:pt>
                <c:pt idx="7">
                  <c:v>6</c:v>
                </c:pt>
                <c:pt idx="8">
                  <c:v>7</c:v>
                </c:pt>
                <c:pt idx="9">
                  <c:v>7</c:v>
                </c:pt>
                <c:pt idx="10">
                  <c:v>7</c:v>
                </c:pt>
                <c:pt idx="11">
                  <c:v>7</c:v>
                </c:pt>
                <c:pt idx="12">
                  <c:v>7</c:v>
                </c:pt>
              </c:strCache>
            </c:strRef>
          </c:cat>
          <c:val>
            <c:numRef>
              <c:f>Sheet1!$C$2:$C$14</c:f>
              <c:numCache>
                <c:formatCode>General</c:formatCode>
                <c:ptCount val="13"/>
                <c:pt idx="0">
                  <c:v>94.42672954057109</c:v>
                </c:pt>
                <c:pt idx="1">
                  <c:v>96.35703550854453</c:v>
                </c:pt>
                <c:pt idx="2">
                  <c:v>98.21018070291522</c:v>
                </c:pt>
                <c:pt idx="3">
                  <c:v>99.28061151458671</c:v>
                </c:pt>
                <c:pt idx="4">
                  <c:v>99.63336484572523</c:v>
                </c:pt>
                <c:pt idx="5">
                  <c:v>100.0</c:v>
                </c:pt>
                <c:pt idx="6">
                  <c:v>100.38079159314499</c:v>
                </c:pt>
                <c:pt idx="7">
                  <c:v>100.77544732807458</c:v>
                </c:pt>
                <c:pt idx="8">
                  <c:v>97.53212586501036</c:v>
                </c:pt>
                <c:pt idx="9">
                  <c:v>91.36806949141882</c:v>
                </c:pt>
                <c:pt idx="10">
                  <c:v>85.97627632749048</c:v>
                </c:pt>
                <c:pt idx="11">
                  <c:v>82.96789138980566</c:v>
                </c:pt>
                <c:pt idx="12">
                  <c:v>81.9017248881924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4</c:f>
              <c:strCache>
                <c:ptCount val="13"/>
                <c:pt idx="0">
                  <c:v>5</c:v>
                </c:pt>
                <c:pt idx="1">
                  <c:v>5</c:v>
                </c:pt>
                <c:pt idx="2">
                  <c:v>5</c:v>
                </c:pt>
                <c:pt idx="3">
                  <c:v>6</c:v>
                </c:pt>
                <c:pt idx="4">
                  <c:v>6</c:v>
                </c:pt>
                <c:pt idx="5">
                  <c:v>6</c:v>
                </c:pt>
                <c:pt idx="6">
                  <c:v>6</c:v>
                </c:pt>
                <c:pt idx="7">
                  <c:v>6</c:v>
                </c:pt>
                <c:pt idx="8">
                  <c:v>7</c:v>
                </c:pt>
                <c:pt idx="9">
                  <c:v>7</c:v>
                </c:pt>
                <c:pt idx="10">
                  <c:v>7</c:v>
                </c:pt>
                <c:pt idx="11">
                  <c:v>7</c:v>
                </c:pt>
                <c:pt idx="12">
                  <c:v>7</c:v>
                </c:pt>
              </c:strCache>
            </c:strRef>
          </c:cat>
          <c:val>
            <c:numRef>
              <c:f>Sheet1!$D$2:$D$14</c:f>
              <c:numCache>
                <c:formatCode>General</c:formatCode>
                <c:ptCount val="13"/>
                <c:pt idx="0">
                  <c:v>76.40579196192294</c:v>
                </c:pt>
                <c:pt idx="1">
                  <c:v>82.207922769217</c:v>
                </c:pt>
                <c:pt idx="2">
                  <c:v>87.79496407065375</c:v>
                </c:pt>
                <c:pt idx="3">
                  <c:v>92.51227546381719</c:v>
                </c:pt>
                <c:pt idx="4">
                  <c:v>96.35316987368907</c:v>
                </c:pt>
                <c:pt idx="5">
                  <c:v>100.0</c:v>
                </c:pt>
                <c:pt idx="6">
                  <c:v>103.4744130180393</c:v>
                </c:pt>
                <c:pt idx="7">
                  <c:v>106.79482451740292</c:v>
                </c:pt>
                <c:pt idx="8">
                  <c:v>105.99606867723321</c:v>
                </c:pt>
                <c:pt idx="9">
                  <c:v>101.61160461382237</c:v>
                </c:pt>
                <c:pt idx="10">
                  <c:v>97.6677876925657</c:v>
                </c:pt>
                <c:pt idx="11">
                  <c:v>96.12737466847601</c:v>
                </c:pt>
                <c:pt idx="12">
                  <c:v>96.6516907428432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4</c:f>
              <c:strCache>
                <c:ptCount val="13"/>
                <c:pt idx="0">
                  <c:v>5</c:v>
                </c:pt>
                <c:pt idx="1">
                  <c:v>5</c:v>
                </c:pt>
                <c:pt idx="2">
                  <c:v>5</c:v>
                </c:pt>
                <c:pt idx="3">
                  <c:v>6</c:v>
                </c:pt>
                <c:pt idx="4">
                  <c:v>6</c:v>
                </c:pt>
                <c:pt idx="5">
                  <c:v>6</c:v>
                </c:pt>
                <c:pt idx="6">
                  <c:v>6</c:v>
                </c:pt>
                <c:pt idx="7">
                  <c:v>6</c:v>
                </c:pt>
                <c:pt idx="8">
                  <c:v>7</c:v>
                </c:pt>
                <c:pt idx="9">
                  <c:v>7</c:v>
                </c:pt>
                <c:pt idx="10">
                  <c:v>7</c:v>
                </c:pt>
                <c:pt idx="11">
                  <c:v>7</c:v>
                </c:pt>
                <c:pt idx="12">
                  <c:v>7</c:v>
                </c:pt>
              </c:strCache>
            </c:strRef>
          </c:cat>
          <c:val>
            <c:numRef>
              <c:f>Sheet1!$E$2:$E$14</c:f>
              <c:numCache>
                <c:formatCode>General</c:formatCode>
                <c:ptCount val="13"/>
                <c:pt idx="0">
                  <c:v>0.41831336010429415</c:v>
                </c:pt>
                <c:pt idx="1">
                  <c:v>0.4408157446263719</c:v>
                </c:pt>
                <c:pt idx="2">
                  <c:v>0.4616419738767862</c:v>
                </c:pt>
                <c:pt idx="3">
                  <c:v>0.4809726031810307</c:v>
                </c:pt>
                <c:pt idx="4">
                  <c:v>0.49896315419728626</c:v>
                </c:pt>
                <c:pt idx="5">
                  <c:v>0.5157483081605263</c:v>
                </c:pt>
                <c:pt idx="6">
                  <c:v>0.5314452835848203</c:v>
                </c:pt>
                <c:pt idx="7">
                  <c:v>0.5461565776637899</c:v>
                </c:pt>
                <c:pt idx="8">
                  <c:v>0.5599722069586517</c:v>
                </c:pt>
                <c:pt idx="9">
                  <c:v>0.5729715509185144</c:v>
                </c:pt>
                <c:pt idx="10">
                  <c:v>0.5852248780083704</c:v>
                </c:pt>
                <c:pt idx="11">
                  <c:v>0.5967946164181788</c:v>
                </c:pt>
                <c:pt idx="12">
                  <c:v>0.60773641787223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8</c:f>
              <c:strCache>
                <c:ptCount val="17"/>
                <c:pt idx="0">
                  <c:v>7</c:v>
                </c:pt>
                <c:pt idx="1">
                  <c:v>7</c:v>
                </c:pt>
                <c:pt idx="2">
                  <c:v>7</c:v>
                </c:pt>
                <c:pt idx="3">
                  <c:v>7</c:v>
                </c:pt>
                <c:pt idx="4">
                  <c:v>8</c:v>
                </c:pt>
                <c:pt idx="5">
                  <c:v>8</c:v>
                </c:pt>
                <c:pt idx="6">
                  <c:v>8</c:v>
                </c:pt>
                <c:pt idx="7">
                  <c:v>8</c:v>
                </c:pt>
                <c:pt idx="8">
                  <c:v>8</c:v>
                </c:pt>
                <c:pt idx="9">
                  <c:v>9</c:v>
                </c:pt>
                <c:pt idx="10">
                  <c:v>9</c:v>
                </c:pt>
                <c:pt idx="11">
                  <c:v>9</c:v>
                </c:pt>
                <c:pt idx="12">
                  <c:v>9</c:v>
                </c:pt>
                <c:pt idx="13">
                  <c:v>9</c:v>
                </c:pt>
                <c:pt idx="14">
                  <c:v>10</c:v>
                </c:pt>
                <c:pt idx="15">
                  <c:v>10</c:v>
                </c:pt>
                <c:pt idx="16">
                  <c:v>10</c:v>
                </c:pt>
              </c:strCache>
            </c:strRef>
          </c:cat>
          <c:val>
            <c:numRef>
              <c:f>Sheet1!$B$2:$B$18</c:f>
              <c:numCache>
                <c:formatCode>General</c:formatCode>
                <c:ptCount val="17"/>
                <c:pt idx="0">
                  <c:v>132.48040846109984</c:v>
                </c:pt>
                <c:pt idx="1">
                  <c:v>124.83048277993456</c:v>
                </c:pt>
                <c:pt idx="2">
                  <c:v>118.66800094224831</c:v>
                </c:pt>
                <c:pt idx="3">
                  <c:v>113.44659530650661</c:v>
                </c:pt>
                <c:pt idx="4">
                  <c:v>108.61938431247069</c:v>
                </c:pt>
                <c:pt idx="5">
                  <c:v>104.1484548899208</c:v>
                </c:pt>
                <c:pt idx="6">
                  <c:v>100.0</c:v>
                </c:pt>
                <c:pt idx="7">
                  <c:v>96.2247872599118</c:v>
                </c:pt>
                <c:pt idx="8">
                  <c:v>92.86127796305826</c:v>
                </c:pt>
                <c:pt idx="9">
                  <c:v>89.80509608584408</c:v>
                </c:pt>
                <c:pt idx="10">
                  <c:v>87.0141072360784</c:v>
                </c:pt>
                <c:pt idx="11">
                  <c:v>84.45304986491576</c:v>
                </c:pt>
                <c:pt idx="12">
                  <c:v>83.33030922582874</c:v>
                </c:pt>
                <c:pt idx="13">
                  <c:v>82.24055505632496</c:v>
                </c:pt>
                <c:pt idx="14">
                  <c:v>81.18228974695195</c:v>
                </c:pt>
                <c:pt idx="15">
                  <c:v>80.1540984811163</c:v>
                </c:pt>
                <c:pt idx="16">
                  <c:v>79.1546442821342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8</c:f>
              <c:strCache>
                <c:ptCount val="17"/>
                <c:pt idx="0">
                  <c:v>7</c:v>
                </c:pt>
                <c:pt idx="1">
                  <c:v>7</c:v>
                </c:pt>
                <c:pt idx="2">
                  <c:v>7</c:v>
                </c:pt>
                <c:pt idx="3">
                  <c:v>7</c:v>
                </c:pt>
                <c:pt idx="4">
                  <c:v>8</c:v>
                </c:pt>
                <c:pt idx="5">
                  <c:v>8</c:v>
                </c:pt>
                <c:pt idx="6">
                  <c:v>8</c:v>
                </c:pt>
                <c:pt idx="7">
                  <c:v>8</c:v>
                </c:pt>
                <c:pt idx="8">
                  <c:v>8</c:v>
                </c:pt>
                <c:pt idx="9">
                  <c:v>9</c:v>
                </c:pt>
                <c:pt idx="10">
                  <c:v>9</c:v>
                </c:pt>
                <c:pt idx="11">
                  <c:v>9</c:v>
                </c:pt>
                <c:pt idx="12">
                  <c:v>9</c:v>
                </c:pt>
                <c:pt idx="13">
                  <c:v>9</c:v>
                </c:pt>
                <c:pt idx="14">
                  <c:v>10</c:v>
                </c:pt>
                <c:pt idx="15">
                  <c:v>10</c:v>
                </c:pt>
                <c:pt idx="16">
                  <c:v>10</c:v>
                </c:pt>
              </c:strCache>
            </c:strRef>
          </c:cat>
          <c:val>
            <c:numRef>
              <c:f>Sheet1!$C$2:$C$18</c:f>
              <c:numCache>
                <c:formatCode>General</c:formatCode>
                <c:ptCount val="17"/>
                <c:pt idx="0">
                  <c:v>112.59352133799487</c:v>
                </c:pt>
                <c:pt idx="1">
                  <c:v>109.21727871808051</c:v>
                </c:pt>
                <c:pt idx="2">
                  <c:v>106.79492716765395</c:v>
                </c:pt>
                <c:pt idx="3">
                  <c:v>104.93341445417495</c:v>
                </c:pt>
                <c:pt idx="4">
                  <c:v>103.18531399221169</c:v>
                </c:pt>
                <c:pt idx="5">
                  <c:v>101.54320852445619</c:v>
                </c:pt>
                <c:pt idx="6">
                  <c:v>100.0</c:v>
                </c:pt>
                <c:pt idx="7">
                  <c:v>98.63238803236845</c:v>
                </c:pt>
                <c:pt idx="8">
                  <c:v>97.50854200646538</c:v>
                </c:pt>
                <c:pt idx="9">
                  <c:v>96.54661294007407</c:v>
                </c:pt>
                <c:pt idx="10">
                  <c:v>95.72333614252142</c:v>
                </c:pt>
                <c:pt idx="11">
                  <c:v>95.01896087406078</c:v>
                </c:pt>
                <c:pt idx="12">
                  <c:v>95.83867437485539</c:v>
                </c:pt>
                <c:pt idx="13">
                  <c:v>96.6408749649855</c:v>
                </c:pt>
                <c:pt idx="14">
                  <c:v>97.42624851614616</c:v>
                </c:pt>
                <c:pt idx="15">
                  <c:v>98.1954319154016</c:v>
                </c:pt>
                <c:pt idx="16">
                  <c:v>98.9490172816637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8</c:f>
              <c:strCache>
                <c:ptCount val="17"/>
                <c:pt idx="0">
                  <c:v>7</c:v>
                </c:pt>
                <c:pt idx="1">
                  <c:v>7</c:v>
                </c:pt>
                <c:pt idx="2">
                  <c:v>7</c:v>
                </c:pt>
                <c:pt idx="3">
                  <c:v>7</c:v>
                </c:pt>
                <c:pt idx="4">
                  <c:v>8</c:v>
                </c:pt>
                <c:pt idx="5">
                  <c:v>8</c:v>
                </c:pt>
                <c:pt idx="6">
                  <c:v>8</c:v>
                </c:pt>
                <c:pt idx="7">
                  <c:v>8</c:v>
                </c:pt>
                <c:pt idx="8">
                  <c:v>8</c:v>
                </c:pt>
                <c:pt idx="9">
                  <c:v>9</c:v>
                </c:pt>
                <c:pt idx="10">
                  <c:v>9</c:v>
                </c:pt>
                <c:pt idx="11">
                  <c:v>9</c:v>
                </c:pt>
                <c:pt idx="12">
                  <c:v>9</c:v>
                </c:pt>
                <c:pt idx="13">
                  <c:v>9</c:v>
                </c:pt>
                <c:pt idx="14">
                  <c:v>10</c:v>
                </c:pt>
                <c:pt idx="15">
                  <c:v>10</c:v>
                </c:pt>
                <c:pt idx="16">
                  <c:v>10</c:v>
                </c:pt>
              </c:strCache>
            </c:strRef>
          </c:cat>
          <c:val>
            <c:numRef>
              <c:f>Sheet1!$D$2:$D$18</c:f>
              <c:numCache>
                <c:formatCode>General</c:formatCode>
                <c:ptCount val="17"/>
                <c:pt idx="0">
                  <c:v>78.75861492548462</c:v>
                </c:pt>
                <c:pt idx="1">
                  <c:v>82.6474064245105</c:v>
                </c:pt>
                <c:pt idx="2">
                  <c:v>86.58749475039347</c:v>
                </c:pt>
                <c:pt idx="3">
                  <c:v>90.44487512323813</c:v>
                </c:pt>
                <c:pt idx="4">
                  <c:v>93.93739420846823</c:v>
                </c:pt>
                <c:pt idx="5">
                  <c:v>97.10962570800376</c:v>
                </c:pt>
                <c:pt idx="6">
                  <c:v>100.0</c:v>
                </c:pt>
                <c:pt idx="7">
                  <c:v>102.72809872338675</c:v>
                </c:pt>
                <c:pt idx="8">
                  <c:v>105.41325818950207</c:v>
                </c:pt>
                <c:pt idx="9">
                  <c:v>108.01341415495096</c:v>
                </c:pt>
                <c:pt idx="10">
                  <c:v>110.53735346758975</c:v>
                </c:pt>
                <c:pt idx="11">
                  <c:v>112.99166776949063</c:v>
                </c:pt>
                <c:pt idx="12">
                  <c:v>117.12137100990687</c:v>
                </c:pt>
                <c:pt idx="13">
                  <c:v>121.14790645539739</c:v>
                </c:pt>
                <c:pt idx="14">
                  <c:v>125.07565490380664</c:v>
                </c:pt>
                <c:pt idx="15">
                  <c:v>128.90872544432045</c:v>
                </c:pt>
                <c:pt idx="16">
                  <c:v>132.6509751346880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8</c:f>
              <c:strCache>
                <c:ptCount val="17"/>
                <c:pt idx="0">
                  <c:v>7</c:v>
                </c:pt>
                <c:pt idx="1">
                  <c:v>7</c:v>
                </c:pt>
                <c:pt idx="2">
                  <c:v>7</c:v>
                </c:pt>
                <c:pt idx="3">
                  <c:v>7</c:v>
                </c:pt>
                <c:pt idx="4">
                  <c:v>8</c:v>
                </c:pt>
                <c:pt idx="5">
                  <c:v>8</c:v>
                </c:pt>
                <c:pt idx="6">
                  <c:v>8</c:v>
                </c:pt>
                <c:pt idx="7">
                  <c:v>8</c:v>
                </c:pt>
                <c:pt idx="8">
                  <c:v>8</c:v>
                </c:pt>
                <c:pt idx="9">
                  <c:v>9</c:v>
                </c:pt>
                <c:pt idx="10">
                  <c:v>9</c:v>
                </c:pt>
                <c:pt idx="11">
                  <c:v>9</c:v>
                </c:pt>
                <c:pt idx="12">
                  <c:v>9</c:v>
                </c:pt>
                <c:pt idx="13">
                  <c:v>9</c:v>
                </c:pt>
                <c:pt idx="14">
                  <c:v>10</c:v>
                </c:pt>
                <c:pt idx="15">
                  <c:v>10</c:v>
                </c:pt>
                <c:pt idx="16">
                  <c:v>10</c:v>
                </c:pt>
              </c:strCache>
            </c:strRef>
          </c:cat>
          <c:val>
            <c:numRef>
              <c:f>Sheet1!$E$2:$E$18</c:f>
              <c:numCache>
                <c:formatCode>General</c:formatCode>
                <c:ptCount val="17"/>
                <c:pt idx="0">
                  <c:v>0.2598604246537618</c:v>
                </c:pt>
                <c:pt idx="1">
                  <c:v>0.2810982890826353</c:v>
                </c:pt>
                <c:pt idx="2">
                  <c:v>0.3011513354122688</c:v>
                </c:pt>
                <c:pt idx="3">
                  <c:v>0.32011602101844866</c:v>
                </c:pt>
                <c:pt idx="4">
                  <c:v>0.33807860963090713</c:v>
                </c:pt>
                <c:pt idx="5">
                  <c:v>0.3551164832568812</c:v>
                </c:pt>
                <c:pt idx="6">
                  <c:v>0.3712992565754037</c:v>
                </c:pt>
                <c:pt idx="7">
                  <c:v>0.3866897276506692</c:v>
                </c:pt>
                <c:pt idx="8">
                  <c:v>0.4013446923424095</c:v>
                </c:pt>
                <c:pt idx="9">
                  <c:v>0.4153156446798095</c:v>
                </c:pt>
                <c:pt idx="10">
                  <c:v>0.4286493814031889</c:v>
                </c:pt>
                <c:pt idx="11">
                  <c:v>0.44138852563054254</c:v>
                </c:pt>
                <c:pt idx="12">
                  <c:v>0.45357198199628873</c:v>
                </c:pt>
                <c:pt idx="13">
                  <c:v>0.4652353335011705</c:v>
                </c:pt>
                <c:pt idx="14">
                  <c:v>0.47641118860041454</c:v>
                </c:pt>
                <c:pt idx="15">
                  <c:v>0.487129485660795</c:v>
                </c:pt>
                <c:pt idx="16">
                  <c:v>0.4974177607729154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8</c:f>
              <c:strCache>
                <c:ptCount val="17"/>
                <c:pt idx="0">
                  <c:v>7</c:v>
                </c:pt>
                <c:pt idx="1">
                  <c:v>7</c:v>
                </c:pt>
                <c:pt idx="2">
                  <c:v>7</c:v>
                </c:pt>
                <c:pt idx="3">
                  <c:v>7</c:v>
                </c:pt>
                <c:pt idx="4">
                  <c:v>8</c:v>
                </c:pt>
                <c:pt idx="5">
                  <c:v>8</c:v>
                </c:pt>
                <c:pt idx="6">
                  <c:v>8</c:v>
                </c:pt>
                <c:pt idx="7">
                  <c:v>8</c:v>
                </c:pt>
                <c:pt idx="8">
                  <c:v>8</c:v>
                </c:pt>
                <c:pt idx="9">
                  <c:v>9</c:v>
                </c:pt>
                <c:pt idx="10">
                  <c:v>9</c:v>
                </c:pt>
                <c:pt idx="11">
                  <c:v>9</c:v>
                </c:pt>
                <c:pt idx="12">
                  <c:v>9</c:v>
                </c:pt>
                <c:pt idx="13">
                  <c:v>9</c:v>
                </c:pt>
                <c:pt idx="14">
                  <c:v>10</c:v>
                </c:pt>
                <c:pt idx="15">
                  <c:v>10</c:v>
                </c:pt>
                <c:pt idx="16">
                  <c:v>10</c:v>
                </c:pt>
              </c:strCache>
            </c:strRef>
          </c:cat>
          <c:val>
            <c:numRef>
              <c:f>Sheet1!$B$2:$B$18</c:f>
              <c:numCache>
                <c:formatCode>General</c:formatCode>
                <c:ptCount val="17"/>
                <c:pt idx="0">
                  <c:v>119.3748009453262</c:v>
                </c:pt>
                <c:pt idx="1">
                  <c:v>114.82349383763932</c:v>
                </c:pt>
                <c:pt idx="2">
                  <c:v>111.15708900290264</c:v>
                </c:pt>
                <c:pt idx="3">
                  <c:v>108.10856901998163</c:v>
                </c:pt>
                <c:pt idx="4">
                  <c:v>105.24320977313705</c:v>
                </c:pt>
                <c:pt idx="5">
                  <c:v>102.54512391390102</c:v>
                </c:pt>
                <c:pt idx="6">
                  <c:v>100.0</c:v>
                </c:pt>
                <c:pt idx="7">
                  <c:v>97.45113557517347</c:v>
                </c:pt>
                <c:pt idx="8">
                  <c:v>94.94253525428543</c:v>
                </c:pt>
                <c:pt idx="9">
                  <c:v>92.61522872457344</c:v>
                </c:pt>
                <c:pt idx="10">
                  <c:v>90.44822631827337</c:v>
                </c:pt>
                <c:pt idx="11">
                  <c:v>88.4233119534801</c:v>
                </c:pt>
                <c:pt idx="12">
                  <c:v>87.56490557340072</c:v>
                </c:pt>
                <c:pt idx="13">
                  <c:v>86.72533465197793</c:v>
                </c:pt>
                <c:pt idx="14">
                  <c:v>85.90392798943049</c:v>
                </c:pt>
                <c:pt idx="15">
                  <c:v>85.1000472965988</c:v>
                </c:pt>
                <c:pt idx="16">
                  <c:v>84.313085177383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8</c:f>
              <c:strCache>
                <c:ptCount val="17"/>
                <c:pt idx="0">
                  <c:v>7</c:v>
                </c:pt>
                <c:pt idx="1">
                  <c:v>7</c:v>
                </c:pt>
                <c:pt idx="2">
                  <c:v>7</c:v>
                </c:pt>
                <c:pt idx="3">
                  <c:v>7</c:v>
                </c:pt>
                <c:pt idx="4">
                  <c:v>8</c:v>
                </c:pt>
                <c:pt idx="5">
                  <c:v>8</c:v>
                </c:pt>
                <c:pt idx="6">
                  <c:v>8</c:v>
                </c:pt>
                <c:pt idx="7">
                  <c:v>8</c:v>
                </c:pt>
                <c:pt idx="8">
                  <c:v>8</c:v>
                </c:pt>
                <c:pt idx="9">
                  <c:v>9</c:v>
                </c:pt>
                <c:pt idx="10">
                  <c:v>9</c:v>
                </c:pt>
                <c:pt idx="11">
                  <c:v>9</c:v>
                </c:pt>
                <c:pt idx="12">
                  <c:v>9</c:v>
                </c:pt>
                <c:pt idx="13">
                  <c:v>9</c:v>
                </c:pt>
                <c:pt idx="14">
                  <c:v>10</c:v>
                </c:pt>
                <c:pt idx="15">
                  <c:v>10</c:v>
                </c:pt>
                <c:pt idx="16">
                  <c:v>10</c:v>
                </c:pt>
              </c:strCache>
            </c:strRef>
          </c:cat>
          <c:val>
            <c:numRef>
              <c:f>Sheet1!$C$2:$C$18</c:f>
              <c:numCache>
                <c:formatCode>General</c:formatCode>
                <c:ptCount val="17"/>
                <c:pt idx="0">
                  <c:v>101.55773967193812</c:v>
                </c:pt>
                <c:pt idx="1">
                  <c:v>100.5470184864504</c:v>
                </c:pt>
                <c:pt idx="2">
                  <c:v>100.10329318453192</c:v>
                </c:pt>
                <c:pt idx="3">
                  <c:v>100.04618892745142</c:v>
                </c:pt>
                <c:pt idx="4">
                  <c:v>100.01113695953143</c:v>
                </c:pt>
                <c:pt idx="5">
                  <c:v>99.99634150231003</c:v>
                </c:pt>
                <c:pt idx="6">
                  <c:v>100.0</c:v>
                </c:pt>
                <c:pt idx="7">
                  <c:v>99.8743595161253</c:v>
                </c:pt>
                <c:pt idx="8">
                  <c:v>99.66512521881988</c:v>
                </c:pt>
                <c:pt idx="9">
                  <c:v>99.52540850117929</c:v>
                </c:pt>
                <c:pt idx="10">
                  <c:v>99.44570285616246</c:v>
                </c:pt>
                <c:pt idx="11">
                  <c:v>99.41753040784025</c:v>
                </c:pt>
                <c:pt idx="12">
                  <c:v>100.62463375599557</c:v>
                </c:pt>
                <c:pt idx="13">
                  <c:v>101.81066928231375</c:v>
                </c:pt>
                <c:pt idx="14">
                  <c:v>102.97626391166688</c:v>
                </c:pt>
                <c:pt idx="15">
                  <c:v>104.12201659615421</c:v>
                </c:pt>
                <c:pt idx="16">
                  <c:v>105.2484999878793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8</c:f>
              <c:strCache>
                <c:ptCount val="17"/>
                <c:pt idx="0">
                  <c:v>7</c:v>
                </c:pt>
                <c:pt idx="1">
                  <c:v>7</c:v>
                </c:pt>
                <c:pt idx="2">
                  <c:v>7</c:v>
                </c:pt>
                <c:pt idx="3">
                  <c:v>7</c:v>
                </c:pt>
                <c:pt idx="4">
                  <c:v>8</c:v>
                </c:pt>
                <c:pt idx="5">
                  <c:v>8</c:v>
                </c:pt>
                <c:pt idx="6">
                  <c:v>8</c:v>
                </c:pt>
                <c:pt idx="7">
                  <c:v>8</c:v>
                </c:pt>
                <c:pt idx="8">
                  <c:v>8</c:v>
                </c:pt>
                <c:pt idx="9">
                  <c:v>9</c:v>
                </c:pt>
                <c:pt idx="10">
                  <c:v>9</c:v>
                </c:pt>
                <c:pt idx="11">
                  <c:v>9</c:v>
                </c:pt>
                <c:pt idx="12">
                  <c:v>9</c:v>
                </c:pt>
                <c:pt idx="13">
                  <c:v>9</c:v>
                </c:pt>
                <c:pt idx="14">
                  <c:v>10</c:v>
                </c:pt>
                <c:pt idx="15">
                  <c:v>10</c:v>
                </c:pt>
                <c:pt idx="16">
                  <c:v>10</c:v>
                </c:pt>
              </c:strCache>
            </c:strRef>
          </c:cat>
          <c:val>
            <c:numRef>
              <c:f>Sheet1!$D$2:$D$18</c:f>
              <c:numCache>
                <c:formatCode>General</c:formatCode>
                <c:ptCount val="17"/>
                <c:pt idx="0">
                  <c:v>72.7573250113312</c:v>
                </c:pt>
                <c:pt idx="1">
                  <c:v>77.45671976245185</c:v>
                </c:pt>
                <c:pt idx="2">
                  <c:v>82.2181902266634</c:v>
                </c:pt>
                <c:pt idx="3">
                  <c:v>86.99963910077759</c:v>
                </c:pt>
                <c:pt idx="4">
                  <c:v>91.54357701992683</c:v>
                </c:pt>
                <c:pt idx="5">
                  <c:v>95.87091404667461</c:v>
                </c:pt>
                <c:pt idx="6">
                  <c:v>100.0</c:v>
                </c:pt>
                <c:pt idx="7">
                  <c:v>103.79380020712917</c:v>
                </c:pt>
                <c:pt idx="8">
                  <c:v>107.3013170554691</c:v>
                </c:pt>
                <c:pt idx="9">
                  <c:v>110.69897907221436</c:v>
                </c:pt>
                <c:pt idx="10">
                  <c:v>113.99573092993629</c:v>
                </c:pt>
                <c:pt idx="11">
                  <c:v>117.19872898980104</c:v>
                </c:pt>
                <c:pt idx="12">
                  <c:v>121.76018670396469</c:v>
                </c:pt>
                <c:pt idx="13">
                  <c:v>126.23732152432352</c:v>
                </c:pt>
                <c:pt idx="14">
                  <c:v>130.632790518433</c:v>
                </c:pt>
                <c:pt idx="15">
                  <c:v>134.94912820080037</c:v>
                </c:pt>
                <c:pt idx="16">
                  <c:v>139.188753912217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8</c:f>
              <c:strCache>
                <c:ptCount val="17"/>
                <c:pt idx="0">
                  <c:v>7</c:v>
                </c:pt>
                <c:pt idx="1">
                  <c:v>7</c:v>
                </c:pt>
                <c:pt idx="2">
                  <c:v>7</c:v>
                </c:pt>
                <c:pt idx="3">
                  <c:v>7</c:v>
                </c:pt>
                <c:pt idx="4">
                  <c:v>8</c:v>
                </c:pt>
                <c:pt idx="5">
                  <c:v>8</c:v>
                </c:pt>
                <c:pt idx="6">
                  <c:v>8</c:v>
                </c:pt>
                <c:pt idx="7">
                  <c:v>8</c:v>
                </c:pt>
                <c:pt idx="8">
                  <c:v>8</c:v>
                </c:pt>
                <c:pt idx="9">
                  <c:v>9</c:v>
                </c:pt>
                <c:pt idx="10">
                  <c:v>9</c:v>
                </c:pt>
                <c:pt idx="11">
                  <c:v>9</c:v>
                </c:pt>
                <c:pt idx="12">
                  <c:v>9</c:v>
                </c:pt>
                <c:pt idx="13">
                  <c:v>9</c:v>
                </c:pt>
                <c:pt idx="14">
                  <c:v>10</c:v>
                </c:pt>
                <c:pt idx="15">
                  <c:v>10</c:v>
                </c:pt>
                <c:pt idx="16">
                  <c:v>10</c:v>
                </c:pt>
              </c:strCache>
            </c:strRef>
          </c:cat>
          <c:val>
            <c:numRef>
              <c:f>Sheet1!$E$2:$E$18</c:f>
              <c:numCache>
                <c:formatCode>General</c:formatCode>
                <c:ptCount val="17"/>
                <c:pt idx="0">
                  <c:v>0.2766435477838254</c:v>
                </c:pt>
                <c:pt idx="1">
                  <c:v>0.2973998304873024</c:v>
                </c:pt>
                <c:pt idx="2">
                  <c:v>0.3169981615755227</c:v>
                </c:pt>
                <c:pt idx="3">
                  <c:v>0.33553281119355455</c:v>
                </c:pt>
                <c:pt idx="4">
                  <c:v>0.35308808698764826</c:v>
                </c:pt>
                <c:pt idx="5">
                  <c:v>0.36973961628011537</c:v>
                </c:pt>
                <c:pt idx="6">
                  <c:v>0.38555543519403995</c:v>
                </c:pt>
                <c:pt idx="7">
                  <c:v>0.4005969178086287</c:v>
                </c:pt>
                <c:pt idx="8">
                  <c:v>0.41491957210232927</c:v>
                </c:pt>
                <c:pt idx="9">
                  <c:v>0.42857372444533226</c:v>
                </c:pt>
                <c:pt idx="10">
                  <c:v>0.441605110432896</c:v>
                </c:pt>
                <c:pt idx="11">
                  <c:v>0.45405538667742446</c:v>
                </c:pt>
                <c:pt idx="12">
                  <c:v>0.4659625756266627</c:v>
                </c:pt>
                <c:pt idx="13">
                  <c:v>0.47736145341478087</c:v>
                </c:pt>
                <c:pt idx="14">
                  <c:v>0.48828388908009385</c:v>
                </c:pt>
                <c:pt idx="15">
                  <c:v>0.49875914211837225</c:v>
                </c:pt>
                <c:pt idx="16">
                  <c:v>0.508814124222316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10</c:v>
                </c:pt>
                <c:pt idx="1">
                  <c:v>10</c:v>
                </c:pt>
                <c:pt idx="2">
                  <c:v>11</c:v>
                </c:pt>
                <c:pt idx="3">
                  <c:v>11</c:v>
                </c:pt>
                <c:pt idx="4">
                  <c:v>11</c:v>
                </c:pt>
                <c:pt idx="5">
                  <c:v>11</c:v>
                </c:pt>
                <c:pt idx="6">
                  <c:v>11</c:v>
                </c:pt>
                <c:pt idx="7">
                  <c:v>12</c:v>
                </c:pt>
                <c:pt idx="8">
                  <c:v>12</c:v>
                </c:pt>
                <c:pt idx="9">
                  <c:v>12</c:v>
                </c:pt>
                <c:pt idx="10">
                  <c:v>12</c:v>
                </c:pt>
                <c:pt idx="11">
                  <c:v>12</c:v>
                </c:pt>
                <c:pt idx="12">
                  <c:v>13</c:v>
                </c:pt>
                <c:pt idx="13">
                  <c:v>13</c:v>
                </c:pt>
                <c:pt idx="14">
                  <c:v>13</c:v>
                </c:pt>
                <c:pt idx="15">
                  <c:v>13</c:v>
                </c:pt>
                <c:pt idx="16">
                  <c:v>13</c:v>
                </c:pt>
                <c:pt idx="17">
                  <c:v>14</c:v>
                </c:pt>
                <c:pt idx="18">
                  <c:v>14</c:v>
                </c:pt>
                <c:pt idx="19">
                  <c:v>14</c:v>
                </c:pt>
                <c:pt idx="20">
                  <c:v>14</c:v>
                </c:pt>
                <c:pt idx="21">
                  <c:v>14</c:v>
                </c:pt>
                <c:pt idx="22">
                  <c:v>15</c:v>
                </c:pt>
                <c:pt idx="23">
                  <c:v>15</c:v>
                </c:pt>
                <c:pt idx="24">
                  <c:v>15</c:v>
                </c:pt>
              </c:strCache>
            </c:strRef>
          </c:cat>
          <c:val>
            <c:numRef>
              <c:f>Sheet1!$B$2:$B$26</c:f>
              <c:numCache>
                <c:formatCode>General</c:formatCode>
                <c:ptCount val="25"/>
                <c:pt idx="0">
                  <c:v>116.46554799410663</c:v>
                </c:pt>
                <c:pt idx="1">
                  <c:v>113.42408630385161</c:v>
                </c:pt>
                <c:pt idx="2">
                  <c:v>110.7063462533706</c:v>
                </c:pt>
                <c:pt idx="3">
                  <c:v>108.25727624913083</c:v>
                </c:pt>
                <c:pt idx="4">
                  <c:v>106.03315688291141</c:v>
                </c:pt>
                <c:pt idx="5">
                  <c:v>104.72898021326603</c:v>
                </c:pt>
                <c:pt idx="6">
                  <c:v>103.47703847461125</c:v>
                </c:pt>
                <c:pt idx="7">
                  <c:v>102.2737083418292</c:v>
                </c:pt>
                <c:pt idx="8">
                  <c:v>101.1156956725952</c:v>
                </c:pt>
                <c:pt idx="9">
                  <c:v>100.0</c:v>
                </c:pt>
                <c:pt idx="10">
                  <c:v>98.92388337928983</c:v>
                </c:pt>
                <c:pt idx="11">
                  <c:v>97.8848429951705</c:v>
                </c:pt>
                <c:pt idx="12">
                  <c:v>96.88058702430095</c:v>
                </c:pt>
                <c:pt idx="13">
                  <c:v>94.73505370029451</c:v>
                </c:pt>
                <c:pt idx="14">
                  <c:v>92.71819039386743</c:v>
                </c:pt>
                <c:pt idx="15">
                  <c:v>90.81723939129621</c:v>
                </c:pt>
                <c:pt idx="16">
                  <c:v>89.02104563644016</c:v>
                </c:pt>
                <c:pt idx="17">
                  <c:v>87.8051343528353</c:v>
                </c:pt>
                <c:pt idx="18">
                  <c:v>87.10961393271901</c:v>
                </c:pt>
                <c:pt idx="19">
                  <c:v>86.43011934191729</c:v>
                </c:pt>
                <c:pt idx="20">
                  <c:v>85.76597461080102</c:v>
                </c:pt>
                <c:pt idx="21">
                  <c:v>85.11654376662565</c:v>
                </c:pt>
                <c:pt idx="22">
                  <c:v>84.48122788351937</c:v>
                </c:pt>
                <c:pt idx="23">
                  <c:v>83.85946238700225</c:v>
                </c:pt>
                <c:pt idx="24">
                  <c:v>83.2507145883038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10</c:v>
                </c:pt>
                <c:pt idx="1">
                  <c:v>10</c:v>
                </c:pt>
                <c:pt idx="2">
                  <c:v>11</c:v>
                </c:pt>
                <c:pt idx="3">
                  <c:v>11</c:v>
                </c:pt>
                <c:pt idx="4">
                  <c:v>11</c:v>
                </c:pt>
                <c:pt idx="5">
                  <c:v>11</c:v>
                </c:pt>
                <c:pt idx="6">
                  <c:v>11</c:v>
                </c:pt>
                <c:pt idx="7">
                  <c:v>12</c:v>
                </c:pt>
                <c:pt idx="8">
                  <c:v>12</c:v>
                </c:pt>
                <c:pt idx="9">
                  <c:v>12</c:v>
                </c:pt>
                <c:pt idx="10">
                  <c:v>12</c:v>
                </c:pt>
                <c:pt idx="11">
                  <c:v>12</c:v>
                </c:pt>
                <c:pt idx="12">
                  <c:v>13</c:v>
                </c:pt>
                <c:pt idx="13">
                  <c:v>13</c:v>
                </c:pt>
                <c:pt idx="14">
                  <c:v>13</c:v>
                </c:pt>
                <c:pt idx="15">
                  <c:v>13</c:v>
                </c:pt>
                <c:pt idx="16">
                  <c:v>13</c:v>
                </c:pt>
                <c:pt idx="17">
                  <c:v>14</c:v>
                </c:pt>
                <c:pt idx="18">
                  <c:v>14</c:v>
                </c:pt>
                <c:pt idx="19">
                  <c:v>14</c:v>
                </c:pt>
                <c:pt idx="20">
                  <c:v>14</c:v>
                </c:pt>
                <c:pt idx="21">
                  <c:v>14</c:v>
                </c:pt>
                <c:pt idx="22">
                  <c:v>15</c:v>
                </c:pt>
                <c:pt idx="23">
                  <c:v>15</c:v>
                </c:pt>
                <c:pt idx="24">
                  <c:v>15</c:v>
                </c:pt>
              </c:strCache>
            </c:strRef>
          </c:cat>
          <c:val>
            <c:numRef>
              <c:f>Sheet1!$C$2:$C$26</c:f>
              <c:numCache>
                <c:formatCode>General</c:formatCode>
                <c:ptCount val="25"/>
                <c:pt idx="0">
                  <c:v>99.0232419196302</c:v>
                </c:pt>
                <c:pt idx="1">
                  <c:v>98.32702232569352</c:v>
                </c:pt>
                <c:pt idx="2">
                  <c:v>97.81507941180035</c:v>
                </c:pt>
                <c:pt idx="3">
                  <c:v>97.45409807063152</c:v>
                </c:pt>
                <c:pt idx="4">
                  <c:v>97.21747198988713</c:v>
                </c:pt>
                <c:pt idx="5">
                  <c:v>97.76350535606278</c:v>
                </c:pt>
                <c:pt idx="6">
                  <c:v>98.31562408379338</c:v>
                </c:pt>
                <c:pt idx="7">
                  <c:v>98.87293860067882</c:v>
                </c:pt>
                <c:pt idx="8">
                  <c:v>99.43464161291023</c:v>
                </c:pt>
                <c:pt idx="9">
                  <c:v>100.0</c:v>
                </c:pt>
                <c:pt idx="10">
                  <c:v>100.56834759051263</c:v>
                </c:pt>
                <c:pt idx="11">
                  <c:v>101.13907871256687</c:v>
                </c:pt>
                <c:pt idx="12">
                  <c:v>101.71164242648587</c:v>
                </c:pt>
                <c:pt idx="13">
                  <c:v>101.03597449023702</c:v>
                </c:pt>
                <c:pt idx="14">
                  <c:v>100.42815996777519</c:v>
                </c:pt>
                <c:pt idx="15">
                  <c:v>99.88060471054612</c:v>
                </c:pt>
                <c:pt idx="16">
                  <c:v>99.38665276056076</c:v>
                </c:pt>
                <c:pt idx="17">
                  <c:v>99.48933435401915</c:v>
                </c:pt>
                <c:pt idx="18">
                  <c:v>100.14874838277186</c:v>
                </c:pt>
                <c:pt idx="19">
                  <c:v>100.80361687655932</c:v>
                </c:pt>
                <c:pt idx="20">
                  <c:v>101.45394345316576</c:v>
                </c:pt>
                <c:pt idx="21">
                  <c:v>102.09973458427461</c:v>
                </c:pt>
                <c:pt idx="22">
                  <c:v>102.74099934300165</c:v>
                </c:pt>
                <c:pt idx="23">
                  <c:v>103.3777491701198</c:v>
                </c:pt>
                <c:pt idx="24">
                  <c:v>104.0099976577730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10</c:v>
                </c:pt>
                <c:pt idx="1">
                  <c:v>10</c:v>
                </c:pt>
                <c:pt idx="2">
                  <c:v>11</c:v>
                </c:pt>
                <c:pt idx="3">
                  <c:v>11</c:v>
                </c:pt>
                <c:pt idx="4">
                  <c:v>11</c:v>
                </c:pt>
                <c:pt idx="5">
                  <c:v>11</c:v>
                </c:pt>
                <c:pt idx="6">
                  <c:v>11</c:v>
                </c:pt>
                <c:pt idx="7">
                  <c:v>12</c:v>
                </c:pt>
                <c:pt idx="8">
                  <c:v>12</c:v>
                </c:pt>
                <c:pt idx="9">
                  <c:v>12</c:v>
                </c:pt>
                <c:pt idx="10">
                  <c:v>12</c:v>
                </c:pt>
                <c:pt idx="11">
                  <c:v>12</c:v>
                </c:pt>
                <c:pt idx="12">
                  <c:v>13</c:v>
                </c:pt>
                <c:pt idx="13">
                  <c:v>13</c:v>
                </c:pt>
                <c:pt idx="14">
                  <c:v>13</c:v>
                </c:pt>
                <c:pt idx="15">
                  <c:v>13</c:v>
                </c:pt>
                <c:pt idx="16">
                  <c:v>13</c:v>
                </c:pt>
                <c:pt idx="17">
                  <c:v>14</c:v>
                </c:pt>
                <c:pt idx="18">
                  <c:v>14</c:v>
                </c:pt>
                <c:pt idx="19">
                  <c:v>14</c:v>
                </c:pt>
                <c:pt idx="20">
                  <c:v>14</c:v>
                </c:pt>
                <c:pt idx="21">
                  <c:v>14</c:v>
                </c:pt>
                <c:pt idx="22">
                  <c:v>15</c:v>
                </c:pt>
                <c:pt idx="23">
                  <c:v>15</c:v>
                </c:pt>
                <c:pt idx="24">
                  <c:v>15</c:v>
                </c:pt>
              </c:strCache>
            </c:strRef>
          </c:cat>
          <c:val>
            <c:numRef>
              <c:f>Sheet1!$D$2:$D$26</c:f>
              <c:numCache>
                <c:formatCode>General</c:formatCode>
                <c:ptCount val="25"/>
                <c:pt idx="0">
                  <c:v>73.74272980902914</c:v>
                </c:pt>
                <c:pt idx="1">
                  <c:v>76.43997516691546</c:v>
                </c:pt>
                <c:pt idx="2">
                  <c:v>79.12064912792425</c:v>
                </c:pt>
                <c:pt idx="3">
                  <c:v>81.78274645578018</c:v>
                </c:pt>
                <c:pt idx="4">
                  <c:v>84.42430935904652</c:v>
                </c:pt>
                <c:pt idx="5">
                  <c:v>87.65452817364712</c:v>
                </c:pt>
                <c:pt idx="6">
                  <c:v>90.8242818519552</c:v>
                </c:pt>
                <c:pt idx="7">
                  <c:v>93.93662951016054</c:v>
                </c:pt>
                <c:pt idx="8">
                  <c:v>96.99435530267405</c:v>
                </c:pt>
                <c:pt idx="9">
                  <c:v>100.0</c:v>
                </c:pt>
                <c:pt idx="10">
                  <c:v>102.95588841479425</c:v>
                </c:pt>
                <c:pt idx="11">
                  <c:v>105.86415327644711</c:v>
                </c:pt>
                <c:pt idx="12">
                  <c:v>108.72675605994921</c:v>
                </c:pt>
                <c:pt idx="13">
                  <c:v>110.18014948545807</c:v>
                </c:pt>
                <c:pt idx="14">
                  <c:v>111.61353688555182</c:v>
                </c:pt>
                <c:pt idx="15">
                  <c:v>113.02677387544158</c:v>
                </c:pt>
                <c:pt idx="16">
                  <c:v>114.41969603384253</c:v>
                </c:pt>
                <c:pt idx="17">
                  <c:v>116.43569205113072</c:v>
                </c:pt>
                <c:pt idx="18">
                  <c:v>119.06385501359351</c:v>
                </c:pt>
                <c:pt idx="19">
                  <c:v>121.65787875666932</c:v>
                </c:pt>
                <c:pt idx="20">
                  <c:v>124.21874381697853</c:v>
                </c:pt>
                <c:pt idx="21">
                  <c:v>126.74738008419189</c:v>
                </c:pt>
                <c:pt idx="22">
                  <c:v>129.24467043901439</c:v>
                </c:pt>
                <c:pt idx="23">
                  <c:v>131.71145406951098</c:v>
                </c:pt>
                <c:pt idx="24">
                  <c:v>134.148529498538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10</c:v>
                </c:pt>
                <c:pt idx="1">
                  <c:v>10</c:v>
                </c:pt>
                <c:pt idx="2">
                  <c:v>11</c:v>
                </c:pt>
                <c:pt idx="3">
                  <c:v>11</c:v>
                </c:pt>
                <c:pt idx="4">
                  <c:v>11</c:v>
                </c:pt>
                <c:pt idx="5">
                  <c:v>11</c:v>
                </c:pt>
                <c:pt idx="6">
                  <c:v>11</c:v>
                </c:pt>
                <c:pt idx="7">
                  <c:v>12</c:v>
                </c:pt>
                <c:pt idx="8">
                  <c:v>12</c:v>
                </c:pt>
                <c:pt idx="9">
                  <c:v>12</c:v>
                </c:pt>
                <c:pt idx="10">
                  <c:v>12</c:v>
                </c:pt>
                <c:pt idx="11">
                  <c:v>12</c:v>
                </c:pt>
                <c:pt idx="12">
                  <c:v>13</c:v>
                </c:pt>
                <c:pt idx="13">
                  <c:v>13</c:v>
                </c:pt>
                <c:pt idx="14">
                  <c:v>13</c:v>
                </c:pt>
                <c:pt idx="15">
                  <c:v>13</c:v>
                </c:pt>
                <c:pt idx="16">
                  <c:v>13</c:v>
                </c:pt>
                <c:pt idx="17">
                  <c:v>14</c:v>
                </c:pt>
                <c:pt idx="18">
                  <c:v>14</c:v>
                </c:pt>
                <c:pt idx="19">
                  <c:v>14</c:v>
                </c:pt>
                <c:pt idx="20">
                  <c:v>14</c:v>
                </c:pt>
                <c:pt idx="21">
                  <c:v>14</c:v>
                </c:pt>
                <c:pt idx="22">
                  <c:v>15</c:v>
                </c:pt>
                <c:pt idx="23">
                  <c:v>15</c:v>
                </c:pt>
                <c:pt idx="24">
                  <c:v>15</c:v>
                </c:pt>
              </c:strCache>
            </c:strRef>
          </c:cat>
          <c:val>
            <c:numRef>
              <c:f>Sheet1!$E$2:$E$26</c:f>
              <c:numCache>
                <c:formatCode>General</c:formatCode>
                <c:ptCount val="25"/>
                <c:pt idx="0">
                  <c:v>0.3054997572755563</c:v>
                </c:pt>
                <c:pt idx="1">
                  <c:v>0.31889416889994293</c:v>
                </c:pt>
                <c:pt idx="2">
                  <c:v>0.33178169645150507</c:v>
                </c:pt>
                <c:pt idx="3">
                  <c:v>0.34419057859725233</c:v>
                </c:pt>
                <c:pt idx="4">
                  <c:v>0.3561469946665823</c:v>
                </c:pt>
                <c:pt idx="5">
                  <c:v>0.36767524901453974</c:v>
                </c:pt>
                <c:pt idx="6">
                  <c:v>0.3787979359272127</c:v>
                </c:pt>
                <c:pt idx="7">
                  <c:v>0.38953608742371726</c:v>
                </c:pt>
                <c:pt idx="8">
                  <c:v>0.39990930598915964</c:v>
                </c:pt>
                <c:pt idx="9">
                  <c:v>0.40993588400103664</c:v>
                </c:pt>
                <c:pt idx="10">
                  <c:v>0.4196329113798199</c:v>
                </c:pt>
                <c:pt idx="11">
                  <c:v>0.42901637279647603</c:v>
                </c:pt>
                <c:pt idx="12">
                  <c:v>0.43810123560003245</c:v>
                </c:pt>
                <c:pt idx="13">
                  <c:v>0.4469015294825692</c:v>
                </c:pt>
                <c:pt idx="14">
                  <c:v>0.45543041877350876</c:v>
                </c:pt>
                <c:pt idx="15">
                  <c:v>0.46370026814672805</c:v>
                </c:pt>
                <c:pt idx="16">
                  <c:v>0.4717227024302475</c:v>
                </c:pt>
                <c:pt idx="17">
                  <c:v>0.4795086611269276</c:v>
                </c:pt>
                <c:pt idx="18">
                  <c:v>0.4870684481839077</c:v>
                </c:pt>
                <c:pt idx="19">
                  <c:v>0.4944117774869297</c:v>
                </c:pt>
                <c:pt idx="20">
                  <c:v>0.5015478145019342</c:v>
                </c:pt>
                <c:pt idx="21">
                  <c:v>0.5084852144392769</c:v>
                </c:pt>
                <c:pt idx="22">
                  <c:v>0.5152321572747021</c:v>
                </c:pt>
                <c:pt idx="23">
                  <c:v>0.5217963799250107</c:v>
                </c:pt>
                <c:pt idx="24">
                  <c:v>0.528185205844516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B$2:$B$21</c:f>
              <c:numCache>
                <c:formatCode>General</c:formatCode>
                <c:ptCount val="20"/>
                <c:pt idx="0">
                  <c:v>105.80809559646632</c:v>
                </c:pt>
                <c:pt idx="1">
                  <c:v>104.67340537418299</c:v>
                </c:pt>
                <c:pt idx="2">
                  <c:v>103.5567583879337</c:v>
                </c:pt>
                <c:pt idx="3">
                  <c:v>102.8334328149195</c:v>
                </c:pt>
                <c:pt idx="4">
                  <c:v>102.11615618827852</c:v>
                </c:pt>
                <c:pt idx="5">
                  <c:v>101.4048661171075</c:v>
                </c:pt>
                <c:pt idx="6">
                  <c:v>100.69950099743276</c:v>
                </c:pt>
                <c:pt idx="7">
                  <c:v>100.0</c:v>
                </c:pt>
                <c:pt idx="8">
                  <c:v>98.4012313357382</c:v>
                </c:pt>
                <c:pt idx="9">
                  <c:v>96.83557298813888</c:v>
                </c:pt>
                <c:pt idx="10">
                  <c:v>95.30208898573146</c:v>
                </c:pt>
                <c:pt idx="11">
                  <c:v>93.79988142072719</c:v>
                </c:pt>
                <c:pt idx="12">
                  <c:v>92.3280882574352</c:v>
                </c:pt>
                <c:pt idx="13">
                  <c:v>88.57533339246459</c:v>
                </c:pt>
                <c:pt idx="14">
                  <c:v>85.03492397922162</c:v>
                </c:pt>
                <c:pt idx="15">
                  <c:v>81.69354569508785</c:v>
                </c:pt>
                <c:pt idx="16">
                  <c:v>78.53837031412321</c:v>
                </c:pt>
                <c:pt idx="17">
                  <c:v>75.55713140466894</c:v>
                </c:pt>
                <c:pt idx="18">
                  <c:v>72.73818222917366</c:v>
                </c:pt>
                <c:pt idx="19">
                  <c:v>70.0705346462105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C$2:$C$21</c:f>
              <c:numCache>
                <c:formatCode>General</c:formatCode>
                <c:ptCount val="20"/>
                <c:pt idx="0">
                  <c:v>90.9812914612801</c:v>
                </c:pt>
                <c:pt idx="1">
                  <c:v>92.10095468984932</c:v>
                </c:pt>
                <c:pt idx="2">
                  <c:v>93.19129726098615</c:v>
                </c:pt>
                <c:pt idx="3">
                  <c:v>94.59925245188529</c:v>
                </c:pt>
                <c:pt idx="4">
                  <c:v>95.98379333732251</c:v>
                </c:pt>
                <c:pt idx="5">
                  <c:v>97.3452290954166</c:v>
                </c:pt>
                <c:pt idx="6">
                  <c:v>98.68386450155161</c:v>
                </c:pt>
                <c:pt idx="7">
                  <c:v>100.0</c:v>
                </c:pt>
                <c:pt idx="8">
                  <c:v>100.36931073940316</c:v>
                </c:pt>
                <c:pt idx="9">
                  <c:v>100.7090380035737</c:v>
                </c:pt>
                <c:pt idx="10">
                  <c:v>101.02018371901802</c:v>
                </c:pt>
                <c:pt idx="11">
                  <c:v>101.30371546974388</c:v>
                </c:pt>
                <c:pt idx="12">
                  <c:v>101.56056793356676</c:v>
                </c:pt>
                <c:pt idx="13">
                  <c:v>99.20072055562903</c:v>
                </c:pt>
                <c:pt idx="14">
                  <c:v>96.93334845753502</c:v>
                </c:pt>
                <c:pt idx="15">
                  <c:v>94.75568546887968</c:v>
                </c:pt>
                <c:pt idx="16">
                  <c:v>92.66448049944123</c:v>
                </c:pt>
                <c:pt idx="17">
                  <c:v>90.65613653005265</c:v>
                </c:pt>
                <c:pt idx="18">
                  <c:v>88.72683693740723</c:v>
                </c:pt>
                <c:pt idx="19">
                  <c:v>86.8726551927257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D$2:$D$21</c:f>
              <c:numCache>
                <c:formatCode>General</c:formatCode>
                <c:ptCount val="20"/>
                <c:pt idx="0">
                  <c:v>85.57679191084391</c:v>
                </c:pt>
                <c:pt idx="1">
                  <c:v>87.5180021805152</c:v>
                </c:pt>
                <c:pt idx="2">
                  <c:v>89.4127062715001</c:v>
                </c:pt>
                <c:pt idx="3">
                  <c:v>91.59737227755674</c:v>
                </c:pt>
                <c:pt idx="4">
                  <c:v>93.74799839443388</c:v>
                </c:pt>
                <c:pt idx="5">
                  <c:v>95.86502393224156</c:v>
                </c:pt>
                <c:pt idx="6">
                  <c:v>97.94888207945107</c:v>
                </c:pt>
                <c:pt idx="7">
                  <c:v>100.0</c:v>
                </c:pt>
                <c:pt idx="8">
                  <c:v>101.08676105996229</c:v>
                </c:pt>
                <c:pt idx="9">
                  <c:v>102.12106794011295</c:v>
                </c:pt>
                <c:pt idx="10">
                  <c:v>103.10462794055259</c:v>
                </c:pt>
                <c:pt idx="11">
                  <c:v>104.03908778404815</c:v>
                </c:pt>
                <c:pt idx="12">
                  <c:v>104.92603636263071</c:v>
                </c:pt>
                <c:pt idx="13">
                  <c:v>103.07289826564956</c:v>
                </c:pt>
                <c:pt idx="14">
                  <c:v>101.26843351523924</c:v>
                </c:pt>
                <c:pt idx="15">
                  <c:v>99.51374945533578</c:v>
                </c:pt>
                <c:pt idx="16">
                  <c:v>97.80910957352272</c:v>
                </c:pt>
                <c:pt idx="17">
                  <c:v>96.15409631310902</c:v>
                </c:pt>
                <c:pt idx="18">
                  <c:v>94.54776300458292</c:v>
                </c:pt>
                <c:pt idx="19">
                  <c:v>92.9887699525991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E$2:$E$21</c:f>
              <c:numCache>
                <c:formatCode>General</c:formatCode>
                <c:ptCount val="20"/>
                <c:pt idx="0">
                  <c:v>0.6905533702026991</c:v>
                </c:pt>
                <c:pt idx="1">
                  <c:v>0.6976103058879285</c:v>
                </c:pt>
                <c:pt idx="2">
                  <c:v>0.7043525510186326</c:v>
                </c:pt>
                <c:pt idx="3">
                  <c:v>0.7108006960345837</c:v>
                </c:pt>
                <c:pt idx="4">
                  <c:v>0.7169735733871007</c:v>
                </c:pt>
                <c:pt idx="5">
                  <c:v>0.7228884412368999</c:v>
                </c:pt>
                <c:pt idx="6">
                  <c:v>0.7285611445892664</c:v>
                </c:pt>
                <c:pt idx="7">
                  <c:v>0.7340062570348177</c:v>
                </c:pt>
                <c:pt idx="8">
                  <c:v>0.7392372057656965</c:v>
                </c:pt>
                <c:pt idx="9">
                  <c:v>0.7442663821250851</c:v>
                </c:pt>
                <c:pt idx="10">
                  <c:v>0.749105239606162</c:v>
                </c:pt>
                <c:pt idx="11">
                  <c:v>0.753764380931953</c:v>
                </c:pt>
                <c:pt idx="12">
                  <c:v>0.7582536356095837</c:v>
                </c:pt>
                <c:pt idx="13">
                  <c:v>0.762582129152832</c:v>
                </c:pt>
                <c:pt idx="14">
                  <c:v>0.7667583449988684</c:v>
                </c:pt>
                <c:pt idx="15">
                  <c:v>0.7707901800032094</c:v>
                </c:pt>
                <c:pt idx="16">
                  <c:v>0.7746849942767318</c:v>
                </c:pt>
                <c:pt idx="17">
                  <c:v>0.778449656026494</c:v>
                </c:pt>
                <c:pt idx="18">
                  <c:v>0.7820905819751136</c:v>
                </c:pt>
                <c:pt idx="19">
                  <c:v>0.785613773859105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B$2:$B$21</c:f>
              <c:numCache>
                <c:formatCode>General</c:formatCode>
                <c:ptCount val="20"/>
                <c:pt idx="0">
                  <c:v>104.43208132444941</c:v>
                </c:pt>
                <c:pt idx="1">
                  <c:v>103.4791679569724</c:v>
                </c:pt>
                <c:pt idx="2">
                  <c:v>102.54236044890716</c:v>
                </c:pt>
                <c:pt idx="3">
                  <c:v>102.02766926137498</c:v>
                </c:pt>
                <c:pt idx="4">
                  <c:v>101.51612134863177</c:v>
                </c:pt>
                <c:pt idx="5">
                  <c:v>101.00768274085948</c:v>
                </c:pt>
                <c:pt idx="6">
                  <c:v>100.50231995693382</c:v>
                </c:pt>
                <c:pt idx="7">
                  <c:v>100.0</c:v>
                </c:pt>
                <c:pt idx="8">
                  <c:v>98.88687695736519</c:v>
                </c:pt>
                <c:pt idx="9">
                  <c:v>97.79217900900079</c:v>
                </c:pt>
                <c:pt idx="10">
                  <c:v>96.7154455625843</c:v>
                </c:pt>
                <c:pt idx="11">
                  <c:v>95.65623215137562</c:v>
                </c:pt>
                <c:pt idx="12">
                  <c:v>94.61410951515316</c:v>
                </c:pt>
                <c:pt idx="13">
                  <c:v>91.82388806692171</c:v>
                </c:pt>
                <c:pt idx="14">
                  <c:v>89.11532283713042</c:v>
                </c:pt>
                <c:pt idx="15">
                  <c:v>86.4857117908757</c:v>
                </c:pt>
                <c:pt idx="16">
                  <c:v>83.93267255066958</c:v>
                </c:pt>
                <c:pt idx="17">
                  <c:v>81.45417340437207</c:v>
                </c:pt>
                <c:pt idx="18">
                  <c:v>79.0485398796727</c:v>
                </c:pt>
                <c:pt idx="19">
                  <c:v>76.714434784491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C$2:$C$21</c:f>
              <c:numCache>
                <c:formatCode>General</c:formatCode>
                <c:ptCount val="20"/>
                <c:pt idx="0">
                  <c:v>89.8914589279889</c:v>
                </c:pt>
                <c:pt idx="1">
                  <c:v>91.12948857570112</c:v>
                </c:pt>
                <c:pt idx="2">
                  <c:v>92.34357965621516</c:v>
                </c:pt>
                <c:pt idx="3">
                  <c:v>93.91077745381395</c:v>
                </c:pt>
                <c:pt idx="4">
                  <c:v>95.45984603186045</c:v>
                </c:pt>
                <c:pt idx="5">
                  <c:v>96.99095906643394</c:v>
                </c:pt>
                <c:pt idx="6">
                  <c:v>98.50428758079606</c:v>
                </c:pt>
                <c:pt idx="7">
                  <c:v>100.0</c:v>
                </c:pt>
                <c:pt idx="8">
                  <c:v>100.84903163954822</c:v>
                </c:pt>
                <c:pt idx="9">
                  <c:v>101.6726788764678</c:v>
                </c:pt>
                <c:pt idx="10">
                  <c:v>102.47157731175669</c:v>
                </c:pt>
                <c:pt idx="11">
                  <c:v>103.24634186454564</c:v>
                </c:pt>
                <c:pt idx="12">
                  <c:v>103.99756744948935</c:v>
                </c:pt>
                <c:pt idx="13">
                  <c:v>102.74340943844471</c:v>
                </c:pt>
                <c:pt idx="14">
                  <c:v>101.47243311509797</c:v>
                </c:pt>
                <c:pt idx="15">
                  <c:v>100.18632401864413</c:v>
                </c:pt>
                <c:pt idx="16">
                  <c:v>98.88693042697028</c:v>
                </c:pt>
                <c:pt idx="17">
                  <c:v>97.57633230221613</c:v>
                </c:pt>
                <c:pt idx="18">
                  <c:v>96.25688404349957</c:v>
                </c:pt>
                <c:pt idx="19">
                  <c:v>94.9312251055231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D$2:$D$21</c:f>
              <c:numCache>
                <c:formatCode>General</c:formatCode>
                <c:ptCount val="20"/>
                <c:pt idx="0">
                  <c:v>85.2511510290497</c:v>
                </c:pt>
                <c:pt idx="1">
                  <c:v>87.18718049092027</c:v>
                </c:pt>
                <c:pt idx="2">
                  <c:v>89.08692579313285</c:v>
                </c:pt>
                <c:pt idx="3">
                  <c:v>91.31773987523431</c:v>
                </c:pt>
                <c:pt idx="4">
                  <c:v>93.52423559023116</c:v>
                </c:pt>
                <c:pt idx="5">
                  <c:v>95.70663327694339</c:v>
                </c:pt>
                <c:pt idx="6">
                  <c:v>97.86515007758098</c:v>
                </c:pt>
                <c:pt idx="7">
                  <c:v>100.0</c:v>
                </c:pt>
                <c:pt idx="8">
                  <c:v>101.47527650644292</c:v>
                </c:pt>
                <c:pt idx="9">
                  <c:v>102.91136476485036</c:v>
                </c:pt>
                <c:pt idx="10">
                  <c:v>104.309235056268</c:v>
                </c:pt>
                <c:pt idx="11">
                  <c:v>105.66982612757445</c:v>
                </c:pt>
                <c:pt idx="12">
                  <c:v>106.99404632534643</c:v>
                </c:pt>
                <c:pt idx="13">
                  <c:v>106.2233196568665</c:v>
                </c:pt>
                <c:pt idx="14">
                  <c:v>105.40424387124719</c:v>
                </c:pt>
                <c:pt idx="15">
                  <c:v>104.5399449988705</c:v>
                </c:pt>
                <c:pt idx="16">
                  <c:v>103.63365775711655</c:v>
                </c:pt>
                <c:pt idx="17">
                  <c:v>102.68880728867167</c:v>
                </c:pt>
                <c:pt idx="18">
                  <c:v>101.70906399579044</c:v>
                </c:pt>
                <c:pt idx="19">
                  <c:v>100.6983642792316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pt idx="18">
                  <c:v>12</c:v>
                </c:pt>
                <c:pt idx="19">
                  <c:v>12</c:v>
                </c:pt>
              </c:strCache>
            </c:strRef>
          </c:cat>
          <c:val>
            <c:numRef>
              <c:f>Sheet1!$E$2:$E$21</c:f>
              <c:numCache>
                <c:formatCode>General</c:formatCode>
                <c:ptCount val="20"/>
                <c:pt idx="0">
                  <c:v>0.7246775251335579</c:v>
                </c:pt>
                <c:pt idx="1">
                  <c:v>0.7309562588819374</c:v>
                </c:pt>
                <c:pt idx="2">
                  <c:v>0.7369550045032989</c:v>
                </c:pt>
                <c:pt idx="3">
                  <c:v>0.7426920818314712</c:v>
                </c:pt>
                <c:pt idx="4">
                  <c:v>0.7481842465735957</c:v>
                </c:pt>
                <c:pt idx="5">
                  <c:v>0.753446853750741</c:v>
                </c:pt>
                <c:pt idx="6">
                  <c:v>0.7584940010639296</c:v>
                </c:pt>
                <c:pt idx="7">
                  <c:v>0.7633386550044725</c:v>
                </c:pt>
                <c:pt idx="8">
                  <c:v>0.7679927620840306</c:v>
                </c:pt>
                <c:pt idx="9">
                  <c:v>0.7724673471933068</c:v>
                </c:pt>
                <c:pt idx="10">
                  <c:v>0.7767726007941903</c:v>
                </c:pt>
                <c:pt idx="11">
                  <c:v>0.780917956396898</c:v>
                </c:pt>
                <c:pt idx="12">
                  <c:v>0.78491215956195</c:v>
                </c:pt>
                <c:pt idx="13">
                  <c:v>0.7887633294892205</c:v>
                </c:pt>
                <c:pt idx="14">
                  <c:v>0.7924790141068243</c:v>
                </c:pt>
                <c:pt idx="15">
                  <c:v>0.7960662394463778</c:v>
                </c:pt>
                <c:pt idx="16">
                  <c:v>0.7995315539842474</c:v>
                </c:pt>
                <c:pt idx="17">
                  <c:v>0.8028810685375598</c:v>
                </c:pt>
                <c:pt idx="18">
                  <c:v>0.8061204922263429</c:v>
                </c:pt>
                <c:pt idx="19">
                  <c:v>0.809255164947016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0"/>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Van Der Hagen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arrys (11.2%)</c:v>
                </c:pt>
                <c:pt idx="1">
                  <c:v>Gillette (38.7%)</c:v>
                </c:pt>
                <c:pt idx="2">
                  <c:v>Bic (16.9%)</c:v>
                </c:pt>
                <c:pt idx="3">
                  <c:v>Equate (21.7%)</c:v>
                </c:pt>
                <c:pt idx="4">
                  <c:v>Schick (11.2%)</c:v>
                </c:pt>
                <c:pt idx="5">
                  <c:v>Dollar Shave Club (2.9%)</c:v>
                </c:pt>
              </c:strCache>
            </c:strRef>
          </c:cat>
          <c:val>
            <c:numRef>
              <c:f>Sheet1!$B$2:$B$7</c:f>
              <c:numCache>
                <c:formatCode>General</c:formatCode>
                <c:ptCount val="6"/>
                <c:pt idx="0">
                  <c:v>0.24458236783632212</c:v>
                </c:pt>
                <c:pt idx="1">
                  <c:v>0.17308481397078135</c:v>
                </c:pt>
                <c:pt idx="2">
                  <c:v>0.09937995110032023</c:v>
                </c:pt>
                <c:pt idx="3">
                  <c:v>0.06857206958740089</c:v>
                </c:pt>
                <c:pt idx="4">
                  <c:v>0.05396685918496697</c:v>
                </c:pt>
                <c:pt idx="5">
                  <c:v>0.0398662032343302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B$2:$B$32</c:f>
              <c:numCache>
                <c:formatCode>General</c:formatCode>
                <c:ptCount val="31"/>
                <c:pt idx="0">
                  <c:v>115.19647295376654</c:v>
                </c:pt>
                <c:pt idx="1">
                  <c:v>113.8571267410309</c:v>
                </c:pt>
                <c:pt idx="2">
                  <c:v>112.53651192611525</c:v>
                </c:pt>
                <c:pt idx="3">
                  <c:v>111.23438107164938</c:v>
                </c:pt>
                <c:pt idx="4">
                  <c:v>109.95049009361375</c:v>
                </c:pt>
                <c:pt idx="5">
                  <c:v>108.65976940208246</c:v>
                </c:pt>
                <c:pt idx="6">
                  <c:v>107.36406151543446</c:v>
                </c:pt>
                <c:pt idx="7">
                  <c:v>106.08852083844809</c:v>
                </c:pt>
                <c:pt idx="8">
                  <c:v>104.83275939059091</c:v>
                </c:pt>
                <c:pt idx="9">
                  <c:v>103.59639626785093</c:v>
                </c:pt>
                <c:pt idx="10">
                  <c:v>102.37905796429241</c:v>
                </c:pt>
                <c:pt idx="11">
                  <c:v>101.180378589805</c:v>
                </c:pt>
                <c:pt idx="12">
                  <c:v>100.0</c:v>
                </c:pt>
                <c:pt idx="13">
                  <c:v>98.67972920142603</c:v>
                </c:pt>
                <c:pt idx="14">
                  <c:v>97.37879804617162</c:v>
                </c:pt>
                <c:pt idx="15">
                  <c:v>96.09715278303216</c:v>
                </c:pt>
                <c:pt idx="16">
                  <c:v>94.83472153977783</c:v>
                </c:pt>
                <c:pt idx="17">
                  <c:v>93.59141463728005</c:v>
                </c:pt>
                <c:pt idx="18">
                  <c:v>91.75228953919145</c:v>
                </c:pt>
                <c:pt idx="19">
                  <c:v>89.95710305531094</c:v>
                </c:pt>
                <c:pt idx="20">
                  <c:v>88.2057332591983</c:v>
                </c:pt>
                <c:pt idx="21">
                  <c:v>86.4979540733977</c:v>
                </c:pt>
                <c:pt idx="22">
                  <c:v>84.83344096130546</c:v>
                </c:pt>
                <c:pt idx="23">
                  <c:v>83.21177748196708</c:v>
                </c:pt>
                <c:pt idx="24">
                  <c:v>81.63246246318364</c:v>
                </c:pt>
                <c:pt idx="25">
                  <c:v>80.09491757437223</c:v>
                </c:pt>
                <c:pt idx="26">
                  <c:v>78.5984951094137</c:v>
                </c:pt>
                <c:pt idx="27">
                  <c:v>77.14248581890453</c:v>
                </c:pt>
                <c:pt idx="28">
                  <c:v>75.72612665918629</c:v>
                </c:pt>
                <c:pt idx="29">
                  <c:v>74.34860835116409</c:v>
                </c:pt>
                <c:pt idx="30">
                  <c:v>73.0090826647208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C$2:$C$32</c:f>
              <c:numCache>
                <c:formatCode>General</c:formatCode>
                <c:ptCount val="31"/>
                <c:pt idx="0">
                  <c:v>96.90752283634875</c:v>
                </c:pt>
                <c:pt idx="1">
                  <c:v>97.28782245715773</c:v>
                </c:pt>
                <c:pt idx="2">
                  <c:v>97.64877209265832</c:v>
                </c:pt>
                <c:pt idx="3">
                  <c:v>97.99091181737593</c:v>
                </c:pt>
                <c:pt idx="4">
                  <c:v>98.31477071020855</c:v>
                </c:pt>
                <c:pt idx="5">
                  <c:v>98.59833156096211</c:v>
                </c:pt>
                <c:pt idx="6">
                  <c:v>98.84304153422677</c:v>
                </c:pt>
                <c:pt idx="7">
                  <c:v>99.07221306395728</c:v>
                </c:pt>
                <c:pt idx="8">
                  <c:v>99.28628880565856</c:v>
                </c:pt>
                <c:pt idx="9">
                  <c:v>99.48569702326259</c:v>
                </c:pt>
                <c:pt idx="10">
                  <c:v>99.67085241072748</c:v>
                </c:pt>
                <c:pt idx="11">
                  <c:v>99.84215683401419</c:v>
                </c:pt>
                <c:pt idx="12">
                  <c:v>100.0</c:v>
                </c:pt>
                <c:pt idx="13">
                  <c:v>99.98495097695294</c:v>
                </c:pt>
                <c:pt idx="14">
                  <c:v>99.95482322891571</c:v>
                </c:pt>
                <c:pt idx="15">
                  <c:v>99.91033369146646</c:v>
                </c:pt>
                <c:pt idx="16">
                  <c:v>99.85217676717126</c:v>
                </c:pt>
                <c:pt idx="17">
                  <c:v>99.78102350839605</c:v>
                </c:pt>
                <c:pt idx="18">
                  <c:v>99.03419258380494</c:v>
                </c:pt>
                <c:pt idx="19">
                  <c:v>98.28686198504073</c:v>
                </c:pt>
                <c:pt idx="20">
                  <c:v>97.54063052669663</c:v>
                </c:pt>
                <c:pt idx="21">
                  <c:v>96.79697403094121</c:v>
                </c:pt>
                <c:pt idx="22">
                  <c:v>96.05724498451546</c:v>
                </c:pt>
                <c:pt idx="23">
                  <c:v>95.32267362086422</c:v>
                </c:pt>
                <c:pt idx="24">
                  <c:v>94.59437022457637</c:v>
                </c:pt>
                <c:pt idx="25">
                  <c:v>93.87332846018816</c:v>
                </c:pt>
                <c:pt idx="26">
                  <c:v>93.16042953854617</c:v>
                </c:pt>
                <c:pt idx="27">
                  <c:v>92.45644704890441</c:v>
                </c:pt>
                <c:pt idx="28">
                  <c:v>91.76205230184243</c:v>
                </c:pt>
                <c:pt idx="29">
                  <c:v>91.07782004545241</c:v>
                </c:pt>
                <c:pt idx="30">
                  <c:v>90.4042344341060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D$2:$D$32</c:f>
              <c:numCache>
                <c:formatCode>General</c:formatCode>
                <c:ptCount val="31"/>
                <c:pt idx="0">
                  <c:v>89.20482347166428</c:v>
                </c:pt>
                <c:pt idx="1">
                  <c:v>90.30970378914053</c:v>
                </c:pt>
                <c:pt idx="2">
                  <c:v>91.37915697826246</c:v>
                </c:pt>
                <c:pt idx="3">
                  <c:v>92.41404970549772</c:v>
                </c:pt>
                <c:pt idx="4">
                  <c:v>93.41523212683663</c:v>
                </c:pt>
                <c:pt idx="5">
                  <c:v>94.36194620750396</c:v>
                </c:pt>
                <c:pt idx="6">
                  <c:v>95.25546427849888</c:v>
                </c:pt>
                <c:pt idx="7">
                  <c:v>96.11834149498897</c:v>
                </c:pt>
                <c:pt idx="8">
                  <c:v>96.95136857798121</c:v>
                </c:pt>
                <c:pt idx="9">
                  <c:v>97.75531308215514</c:v>
                </c:pt>
                <c:pt idx="10">
                  <c:v>98.53092041016713</c:v>
                </c:pt>
                <c:pt idx="11">
                  <c:v>99.27891475888929</c:v>
                </c:pt>
                <c:pt idx="12">
                  <c:v>100.0</c:v>
                </c:pt>
                <c:pt idx="13">
                  <c:v>100.5337017570268</c:v>
                </c:pt>
                <c:pt idx="14">
                  <c:v>101.03769821408666</c:v>
                </c:pt>
                <c:pt idx="15">
                  <c:v>101.51303366917492</c:v>
                </c:pt>
                <c:pt idx="16">
                  <c:v>101.9607283387474</c:v>
                </c:pt>
                <c:pt idx="17">
                  <c:v>102.38177701852209</c:v>
                </c:pt>
                <c:pt idx="18">
                  <c:v>102.09119534740803</c:v>
                </c:pt>
                <c:pt idx="19">
                  <c:v>101.7812154449501</c:v>
                </c:pt>
                <c:pt idx="20">
                  <c:v>101.45418431963631</c:v>
                </c:pt>
                <c:pt idx="21">
                  <c:v>101.1123168658144</c:v>
                </c:pt>
                <c:pt idx="22">
                  <c:v>100.7576929035058</c:v>
                </c:pt>
                <c:pt idx="23">
                  <c:v>100.39225590406792</c:v>
                </c:pt>
                <c:pt idx="24">
                  <c:v>100.01781321449283</c:v>
                </c:pt>
                <c:pt idx="25">
                  <c:v>99.63603758885242</c:v>
                </c:pt>
                <c:pt idx="26">
                  <c:v>99.24846983897815</c:v>
                </c:pt>
                <c:pt idx="27">
                  <c:v>98.85652242542784</c:v>
                </c:pt>
                <c:pt idx="28">
                  <c:v>98.46148382208881</c:v>
                </c:pt>
                <c:pt idx="29">
                  <c:v>98.06452350174004</c:v>
                </c:pt>
                <c:pt idx="30">
                  <c:v>97.6666974043951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E$2:$E$32</c:f>
              <c:numCache>
                <c:formatCode>General</c:formatCode>
                <c:ptCount val="31"/>
                <c:pt idx="0">
                  <c:v>0.6524463876569928</c:v>
                </c:pt>
                <c:pt idx="1">
                  <c:v>0.6578896705441191</c:v>
                </c:pt>
                <c:pt idx="2">
                  <c:v>0.6631650804046569</c:v>
                </c:pt>
                <c:pt idx="3">
                  <c:v>0.668280265212483</c:v>
                </c:pt>
                <c:pt idx="4">
                  <c:v>0.673242415321496</c:v>
                </c:pt>
                <c:pt idx="5">
                  <c:v>0.6780582971885335</c:v>
                </c:pt>
                <c:pt idx="6">
                  <c:v>0.6827342841574727</c:v>
                </c:pt>
                <c:pt idx="7">
                  <c:v>0.6872763845990265</c:v>
                </c:pt>
                <c:pt idx="8">
                  <c:v>0.6916902676674948</c:v>
                </c:pt>
                <c:pt idx="9">
                  <c:v>0.6959812869066387</c:v>
                </c:pt>
                <c:pt idx="10">
                  <c:v>0.7001545019113521</c:v>
                </c:pt>
                <c:pt idx="11">
                  <c:v>0.7042146982294111</c:v>
                </c:pt>
                <c:pt idx="12">
                  <c:v>0.7081664056678958</c:v>
                </c:pt>
                <c:pt idx="13">
                  <c:v>0.7120139151515096</c:v>
                </c:pt>
                <c:pt idx="14">
                  <c:v>0.7157612942646975</c:v>
                </c:pt>
                <c:pt idx="15">
                  <c:v>0.7194124015959154</c:v>
                </c:pt>
                <c:pt idx="16">
                  <c:v>0.7229708999903869</c:v>
                </c:pt>
                <c:pt idx="17">
                  <c:v>0.7264402688070383</c:v>
                </c:pt>
                <c:pt idx="18">
                  <c:v>0.7298238152658256</c:v>
                </c:pt>
                <c:pt idx="19">
                  <c:v>0.7331246849632499</c:v>
                </c:pt>
                <c:pt idx="20">
                  <c:v>0.7363458716263367</c:v>
                </c:pt>
                <c:pt idx="21">
                  <c:v>0.7394902261686583</c:v>
                </c:pt>
                <c:pt idx="22">
                  <c:v>0.7425604651059753</c:v>
                </c:pt>
                <c:pt idx="23">
                  <c:v>0.7455591783837158</c:v>
                </c:pt>
                <c:pt idx="24">
                  <c:v>0.7484888366636961</c:v>
                </c:pt>
                <c:pt idx="25">
                  <c:v>0.7513517981131702</c:v>
                </c:pt>
                <c:pt idx="26">
                  <c:v>0.7541503147354193</c:v>
                </c:pt>
                <c:pt idx="27">
                  <c:v>0.756886538277596</c:v>
                </c:pt>
                <c:pt idx="28">
                  <c:v>0.7595625257483984</c:v>
                </c:pt>
                <c:pt idx="29">
                  <c:v>0.7621802445753076</c:v>
                </c:pt>
                <c:pt idx="30">
                  <c:v>0.764741577428562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strCache>
            </c:strRef>
          </c:cat>
          <c:val>
            <c:numRef>
              <c:f>Sheet1!$B$2:$B$19</c:f>
              <c:numCache>
                <c:formatCode>General</c:formatCode>
                <c:ptCount val="18"/>
                <c:pt idx="0">
                  <c:v>105.69497276203661</c:v>
                </c:pt>
                <c:pt idx="1">
                  <c:v>104.4163552983499</c:v>
                </c:pt>
                <c:pt idx="2">
                  <c:v>103.161554757661</c:v>
                </c:pt>
                <c:pt idx="3">
                  <c:v>102.52071833614784</c:v>
                </c:pt>
                <c:pt idx="4">
                  <c:v>101.88418212627954</c:v>
                </c:pt>
                <c:pt idx="5">
                  <c:v>101.25190852569636</c:v>
                </c:pt>
                <c:pt idx="6">
                  <c:v>100.62386018153174</c:v>
                </c:pt>
                <c:pt idx="7">
                  <c:v>100.0</c:v>
                </c:pt>
                <c:pt idx="8">
                  <c:v>98.91792101331293</c:v>
                </c:pt>
                <c:pt idx="9">
                  <c:v>97.85317463390999</c:v>
                </c:pt>
                <c:pt idx="10">
                  <c:v>96.80533068913694</c:v>
                </c:pt>
                <c:pt idx="11">
                  <c:v>95.77397301993302</c:v>
                </c:pt>
                <c:pt idx="12">
                  <c:v>94.75869893535975</c:v>
                </c:pt>
                <c:pt idx="13">
                  <c:v>92.3420251437005</c:v>
                </c:pt>
                <c:pt idx="14">
                  <c:v>90.00930328235256</c:v>
                </c:pt>
                <c:pt idx="15">
                  <c:v>87.75831093535243</c:v>
                </c:pt>
                <c:pt idx="16">
                  <c:v>85.58667600037033</c:v>
                </c:pt>
                <c:pt idx="17">
                  <c:v>83.4918915400007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strCache>
            </c:strRef>
          </c:cat>
          <c:val>
            <c:numRef>
              <c:f>Sheet1!$C$2:$C$19</c:f>
              <c:numCache>
                <c:formatCode>General</c:formatCode>
                <c:ptCount val="18"/>
                <c:pt idx="0">
                  <c:v>91.05098982530586</c:v>
                </c:pt>
                <c:pt idx="1">
                  <c:v>92.01462229861961</c:v>
                </c:pt>
                <c:pt idx="2">
                  <c:v>92.94839808268469</c:v>
                </c:pt>
                <c:pt idx="3">
                  <c:v>94.40267045258416</c:v>
                </c:pt>
                <c:pt idx="4">
                  <c:v>95.8347152957828</c:v>
                </c:pt>
                <c:pt idx="5">
                  <c:v>97.24478596668122</c:v>
                </c:pt>
                <c:pt idx="6">
                  <c:v>98.633132166323</c:v>
                </c:pt>
                <c:pt idx="7">
                  <c:v>100.0</c:v>
                </c:pt>
                <c:pt idx="8">
                  <c:v>100.8700815806425</c:v>
                </c:pt>
                <c:pt idx="9">
                  <c:v>101.71489291472098</c:v>
                </c:pt>
                <c:pt idx="10">
                  <c:v>102.53504435641334</c:v>
                </c:pt>
                <c:pt idx="11">
                  <c:v>103.33112523595189</c:v>
                </c:pt>
                <c:pt idx="12">
                  <c:v>104.1037047688818</c:v>
                </c:pt>
                <c:pt idx="13">
                  <c:v>103.25815655271207</c:v>
                </c:pt>
                <c:pt idx="14">
                  <c:v>102.41379805936117</c:v>
                </c:pt>
                <c:pt idx="15">
                  <c:v>101.57297435236077</c:v>
                </c:pt>
                <c:pt idx="16">
                  <c:v>100.737677452238</c:v>
                </c:pt>
                <c:pt idx="17">
                  <c:v>99.9095502372058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strCache>
            </c:strRef>
          </c:cat>
          <c:val>
            <c:numRef>
              <c:f>Sheet1!$D$2:$D$19</c:f>
              <c:numCache>
                <c:formatCode>General</c:formatCode>
                <c:ptCount val="18"/>
                <c:pt idx="0">
                  <c:v>88.65066770408511</c:v>
                </c:pt>
                <c:pt idx="1">
                  <c:v>89.97941555129702</c:v>
                </c:pt>
                <c:pt idx="2">
                  <c:v>91.26984653520786</c:v>
                </c:pt>
                <c:pt idx="3">
                  <c:v>93.06722598436383</c:v>
                </c:pt>
                <c:pt idx="4">
                  <c:v>94.83865954549752</c:v>
                </c:pt>
                <c:pt idx="5">
                  <c:v>96.58442046853848</c:v>
                </c:pt>
                <c:pt idx="6">
                  <c:v>98.30477851457806</c:v>
                </c:pt>
                <c:pt idx="7">
                  <c:v>100.0</c:v>
                </c:pt>
                <c:pt idx="8">
                  <c:v>101.18970395844664</c:v>
                </c:pt>
                <c:pt idx="9">
                  <c:v>102.3473768377876</c:v>
                </c:pt>
                <c:pt idx="10">
                  <c:v>103.47377940445716</c:v>
                </c:pt>
                <c:pt idx="11">
                  <c:v>104.5696468217226</c:v>
                </c:pt>
                <c:pt idx="12">
                  <c:v>105.63568973048172</c:v>
                </c:pt>
                <c:pt idx="13">
                  <c:v>105.03729336131067</c:v>
                </c:pt>
                <c:pt idx="14">
                  <c:v>104.42660073051746</c:v>
                </c:pt>
                <c:pt idx="15">
                  <c:v>103.80673119167862</c:v>
                </c:pt>
                <c:pt idx="16">
                  <c:v>103.18041358260545</c:v>
                </c:pt>
                <c:pt idx="17">
                  <c:v>102.5499885038634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strCache>
            </c:strRef>
          </c:cat>
          <c:val>
            <c:numRef>
              <c:f>Sheet1!$E$2:$E$19</c:f>
              <c:numCache>
                <c:formatCode>General</c:formatCode>
                <c:ptCount val="18"/>
                <c:pt idx="0">
                  <c:v>0.8451977220731978</c:v>
                </c:pt>
                <c:pt idx="1">
                  <c:v>0.84872799066902</c:v>
                </c:pt>
                <c:pt idx="2">
                  <c:v>0.8521008336864331</c:v>
                </c:pt>
                <c:pt idx="3">
                  <c:v>0.855326551599488</c:v>
                </c:pt>
                <c:pt idx="4">
                  <c:v>0.8584145654394136</c:v>
                </c:pt>
                <c:pt idx="5">
                  <c:v>0.8613735086904186</c:v>
                </c:pt>
                <c:pt idx="6">
                  <c:v>0.8642113078983936</c:v>
                </c:pt>
                <c:pt idx="7">
                  <c:v>0.8669352535774629</c:v>
                </c:pt>
                <c:pt idx="8">
                  <c:v>0.8695520627499809</c:v>
                </c:pt>
                <c:pt idx="9">
                  <c:v>0.872067934249499</c:v>
                </c:pt>
                <c:pt idx="10">
                  <c:v>0.8744885977452512</c:v>
                </c:pt>
                <c:pt idx="11">
                  <c:v>0.8768193573042994</c:v>
                </c:pt>
                <c:pt idx="12">
                  <c:v>0.8790651301884508</c:v>
                </c:pt>
                <c:pt idx="13">
                  <c:v>0.8812304814831966</c:v>
                </c:pt>
                <c:pt idx="14">
                  <c:v>0.8833196550718826</c:v>
                </c:pt>
                <c:pt idx="15">
                  <c:v>0.885336601397347</c:v>
                </c:pt>
                <c:pt idx="16">
                  <c:v>0.8872850023931441</c:v>
                </c:pt>
                <c:pt idx="17">
                  <c:v>0.889168293915397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1"/>
          <c:min val="0.7"/>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B$2:$B$32</c:f>
              <c:numCache>
                <c:formatCode>General</c:formatCode>
                <c:ptCount val="31"/>
                <c:pt idx="0">
                  <c:v>109.4204571736438</c:v>
                </c:pt>
                <c:pt idx="1">
                  <c:v>108.49581772295993</c:v>
                </c:pt>
                <c:pt idx="2">
                  <c:v>107.57806010731505</c:v>
                </c:pt>
                <c:pt idx="3">
                  <c:v>106.66719180676549</c:v>
                </c:pt>
                <c:pt idx="4">
                  <c:v>105.76321954964226</c:v>
                </c:pt>
                <c:pt idx="5">
                  <c:v>104.94909156560064</c:v>
                </c:pt>
                <c:pt idx="6">
                  <c:v>104.22375257085044</c:v>
                </c:pt>
                <c:pt idx="7">
                  <c:v>103.50414078561614</c:v>
                </c:pt>
                <c:pt idx="8">
                  <c:v>102.79051308464553</c:v>
                </c:pt>
                <c:pt idx="9">
                  <c:v>102.08309884704747</c:v>
                </c:pt>
                <c:pt idx="10">
                  <c:v>101.38209892546574</c:v>
                </c:pt>
                <c:pt idx="11">
                  <c:v>100.68768510053079</c:v>
                </c:pt>
                <c:pt idx="12">
                  <c:v>100.0</c:v>
                </c:pt>
                <c:pt idx="13">
                  <c:v>99.30492119976067</c:v>
                </c:pt>
                <c:pt idx="14">
                  <c:v>98.61342662803845</c:v>
                </c:pt>
                <c:pt idx="15">
                  <c:v>97.92562017407198</c:v>
                </c:pt>
                <c:pt idx="16">
                  <c:v>97.24160293590066</c:v>
                </c:pt>
                <c:pt idx="17">
                  <c:v>96.56147283855867</c:v>
                </c:pt>
                <c:pt idx="18">
                  <c:v>95.45467884348055</c:v>
                </c:pt>
                <c:pt idx="19">
                  <c:v>94.35254090376533</c:v>
                </c:pt>
                <c:pt idx="20">
                  <c:v>93.25548943504097</c:v>
                </c:pt>
                <c:pt idx="21">
                  <c:v>92.16392081090962</c:v>
                </c:pt>
                <c:pt idx="22">
                  <c:v>91.07819625962931</c:v>
                </c:pt>
                <c:pt idx="23">
                  <c:v>89.99864136257703</c:v>
                </c:pt>
                <c:pt idx="24">
                  <c:v>88.92554619583393</c:v>
                </c:pt>
                <c:pt idx="25">
                  <c:v>87.85916613033213</c:v>
                </c:pt>
                <c:pt idx="26">
                  <c:v>86.79972327963038</c:v>
                </c:pt>
                <c:pt idx="27">
                  <c:v>85.74740856025548</c:v>
                </c:pt>
                <c:pt idx="28">
                  <c:v>84.7023843097731</c:v>
                </c:pt>
                <c:pt idx="29">
                  <c:v>83.66478739352834</c:v>
                </c:pt>
                <c:pt idx="30">
                  <c:v>82.6347327223473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C$2:$C$32</c:f>
              <c:numCache>
                <c:formatCode>General</c:formatCode>
                <c:ptCount val="31"/>
                <c:pt idx="0">
                  <c:v>92.40593502821241</c:v>
                </c:pt>
                <c:pt idx="1">
                  <c:v>93.03305733784775</c:v>
                </c:pt>
                <c:pt idx="2">
                  <c:v>93.6414310885876</c:v>
                </c:pt>
                <c:pt idx="3">
                  <c:v>94.23137635734386</c:v>
                </c:pt>
                <c:pt idx="4">
                  <c:v>94.80321116262982</c:v>
                </c:pt>
                <c:pt idx="5">
                  <c:v>95.43401595375055</c:v>
                </c:pt>
                <c:pt idx="6">
                  <c:v>96.1262616084617</c:v>
                </c:pt>
                <c:pt idx="7">
                  <c:v>96.80438031586822</c:v>
                </c:pt>
                <c:pt idx="8">
                  <c:v>97.46887215154625</c:v>
                </c:pt>
                <c:pt idx="9">
                  <c:v>98.1202224024771</c:v>
                </c:pt>
                <c:pt idx="10">
                  <c:v>98.75889882540805</c:v>
                </c:pt>
                <c:pt idx="11">
                  <c:v>99.38534931448694</c:v>
                </c:pt>
                <c:pt idx="12">
                  <c:v>100.0</c:v>
                </c:pt>
                <c:pt idx="13">
                  <c:v>100.58934370367336</c:v>
                </c:pt>
                <c:pt idx="14">
                  <c:v>101.16388203672517</c:v>
                </c:pt>
                <c:pt idx="15">
                  <c:v>101.72388967297464</c:v>
                </c:pt>
                <c:pt idx="16">
                  <c:v>102.26964265193952</c:v>
                </c:pt>
                <c:pt idx="17">
                  <c:v>102.8014178098719</c:v>
                </c:pt>
                <c:pt idx="18">
                  <c:v>102.85426172096</c:v>
                </c:pt>
                <c:pt idx="19">
                  <c:v>102.88353510140485</c:v>
                </c:pt>
                <c:pt idx="20">
                  <c:v>102.88991841242027</c:v>
                </c:pt>
                <c:pt idx="21">
                  <c:v>102.87407411935246</c:v>
                </c:pt>
                <c:pt idx="22">
                  <c:v>102.83664339733103</c:v>
                </c:pt>
                <c:pt idx="23">
                  <c:v>102.77824344084645</c:v>
                </c:pt>
                <c:pt idx="24">
                  <c:v>102.69946547614256</c:v>
                </c:pt>
                <c:pt idx="25">
                  <c:v>102.60087354961698</c:v>
                </c:pt>
                <c:pt idx="26">
                  <c:v>102.48300413626212</c:v>
                </c:pt>
                <c:pt idx="27">
                  <c:v>102.34636658270979</c:v>
                </c:pt>
                <c:pt idx="28">
                  <c:v>102.19144437244474</c:v>
                </c:pt>
                <c:pt idx="29">
                  <c:v>102.01869717821313</c:v>
                </c:pt>
                <c:pt idx="30">
                  <c:v>101.8285636492797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D$2:$D$32</c:f>
              <c:numCache>
                <c:formatCode>General</c:formatCode>
                <c:ptCount val="31"/>
                <c:pt idx="0">
                  <c:v>84.35143390162317</c:v>
                </c:pt>
                <c:pt idx="1">
                  <c:v>85.71227217647946</c:v>
                </c:pt>
                <c:pt idx="2">
                  <c:v>87.04252307867189</c:v>
                </c:pt>
                <c:pt idx="3">
                  <c:v>88.34262205430173</c:v>
                </c:pt>
                <c:pt idx="4">
                  <c:v>89.61300360005572</c:v>
                </c:pt>
                <c:pt idx="5">
                  <c:v>90.92733438312231</c:v>
                </c:pt>
                <c:pt idx="6">
                  <c:v>92.28990100539632</c:v>
                </c:pt>
                <c:pt idx="7">
                  <c:v>93.62932863096091</c:v>
                </c:pt>
                <c:pt idx="8">
                  <c:v>94.94621589616938</c:v>
                </c:pt>
                <c:pt idx="9">
                  <c:v>96.2411540537556</c:v>
                </c:pt>
                <c:pt idx="10">
                  <c:v>97.51472324189349</c:v>
                </c:pt>
                <c:pt idx="11">
                  <c:v>98.76748913199025</c:v>
                </c:pt>
                <c:pt idx="12">
                  <c:v>100.0</c:v>
                </c:pt>
                <c:pt idx="13">
                  <c:v>101.19881800897399</c:v>
                </c:pt>
                <c:pt idx="14">
                  <c:v>102.37431373391925</c:v>
                </c:pt>
                <c:pt idx="15">
                  <c:v>103.52682354487732</c:v>
                </c:pt>
                <c:pt idx="16">
                  <c:v>104.65668827608026</c:v>
                </c:pt>
                <c:pt idx="17">
                  <c:v>105.76425252569372</c:v>
                </c:pt>
                <c:pt idx="18">
                  <c:v>106.35948485957955</c:v>
                </c:pt>
                <c:pt idx="19">
                  <c:v>106.9173594787824</c:v>
                </c:pt>
                <c:pt idx="20">
                  <c:v>107.43868311692036</c:v>
                </c:pt>
                <c:pt idx="21">
                  <c:v>107.92425330593119</c:v>
                </c:pt>
                <c:pt idx="22">
                  <c:v>108.37485380921035</c:v>
                </c:pt>
                <c:pt idx="23">
                  <c:v>108.7912506802484</c:v>
                </c:pt>
                <c:pt idx="24">
                  <c:v>109.17418907623329</c:v>
                </c:pt>
                <c:pt idx="25">
                  <c:v>109.52439092963834</c:v>
                </c:pt>
                <c:pt idx="26">
                  <c:v>109.84255354936283</c:v>
                </c:pt>
                <c:pt idx="27">
                  <c:v>110.12934918998232</c:v>
                </c:pt>
                <c:pt idx="28">
                  <c:v>110.38542559630378</c:v>
                </c:pt>
                <c:pt idx="29">
                  <c:v>110.61140750314047</c:v>
                </c:pt>
                <c:pt idx="30">
                  <c:v>110.8078990480943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E$2:$E$32</c:f>
              <c:numCache>
                <c:formatCode>General</c:formatCode>
                <c:ptCount val="31"/>
                <c:pt idx="0">
                  <c:v>0.6353084120805544</c:v>
                </c:pt>
                <c:pt idx="1">
                  <c:v>0.6410201049218928</c:v>
                </c:pt>
                <c:pt idx="2">
                  <c:v>0.6465556468660425</c:v>
                </c:pt>
                <c:pt idx="3">
                  <c:v>0.6519230630108253</c:v>
                </c:pt>
                <c:pt idx="4">
                  <c:v>0.6571298982687039</c:v>
                </c:pt>
                <c:pt idx="5">
                  <c:v>0.6621832527525843</c:v>
                </c:pt>
                <c:pt idx="6">
                  <c:v>0.6670898140778917</c:v>
                </c:pt>
                <c:pt idx="7">
                  <c:v>0.6718558868899478</c:v>
                </c:pt>
                <c:pt idx="8">
                  <c:v>0.6764874198907953</c:v>
                </c:pt>
                <c:pt idx="9">
                  <c:v>0.6809900306090864</c:v>
                </c:pt>
                <c:pt idx="10">
                  <c:v>0.685369028129895</c:v>
                </c:pt>
                <c:pt idx="11">
                  <c:v>0.6896294339778315</c:v>
                </c:pt>
                <c:pt idx="12">
                  <c:v>0.6937760013261569</c:v>
                </c:pt>
                <c:pt idx="13">
                  <c:v>0.6978132326863923</c:v>
                </c:pt>
                <c:pt idx="14">
                  <c:v>0.7017453962168231</c:v>
                </c:pt>
                <c:pt idx="15">
                  <c:v>0.7055765407740893</c:v>
                </c:pt>
                <c:pt idx="16">
                  <c:v>0.7093105098194401</c:v>
                </c:pt>
                <c:pt idx="17">
                  <c:v>0.7129509542800607</c:v>
                </c:pt>
                <c:pt idx="18">
                  <c:v>0.7165013444559414</c:v>
                </c:pt>
                <c:pt idx="19">
                  <c:v>0.7199649810539139</c:v>
                </c:pt>
                <c:pt idx="20">
                  <c:v>0.7233450054226053</c:v>
                </c:pt>
                <c:pt idx="21">
                  <c:v>0.7266444090550132</c:v>
                </c:pt>
                <c:pt idx="22">
                  <c:v>0.7298660424191261</c:v>
                </c:pt>
                <c:pt idx="23">
                  <c:v>0.7330126231713786</c:v>
                </c:pt>
                <c:pt idx="24">
                  <c:v>0.7360867438026811</c:v>
                </c:pt>
                <c:pt idx="25">
                  <c:v>0.7390908787622408</c:v>
                </c:pt>
                <c:pt idx="26">
                  <c:v>0.7420273911003135</c:v>
                </c:pt>
                <c:pt idx="27">
                  <c:v>0.7448985386673661</c:v>
                </c:pt>
                <c:pt idx="28">
                  <c:v>0.7477064799038289</c:v>
                </c:pt>
                <c:pt idx="29">
                  <c:v>0.750453279251637</c:v>
                </c:pt>
                <c:pt idx="30">
                  <c:v>0.75314091221607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58</c:f>
              <c:strCache>
                <c:ptCount val="57"/>
                <c:pt idx="0">
                  <c:v>23</c:v>
                </c:pt>
                <c:pt idx="1">
                  <c:v>23</c:v>
                </c:pt>
                <c:pt idx="2">
                  <c:v>23</c:v>
                </c:pt>
                <c:pt idx="3">
                  <c:v>24</c:v>
                </c:pt>
                <c:pt idx="4">
                  <c:v>24</c:v>
                </c:pt>
                <c:pt idx="5">
                  <c:v>24</c:v>
                </c:pt>
                <c:pt idx="6">
                  <c:v>24</c:v>
                </c:pt>
                <c:pt idx="7">
                  <c:v>24</c:v>
                </c:pt>
                <c:pt idx="8">
                  <c:v>25</c:v>
                </c:pt>
                <c:pt idx="9">
                  <c:v>25</c:v>
                </c:pt>
                <c:pt idx="10">
                  <c:v>25</c:v>
                </c:pt>
                <c:pt idx="11">
                  <c:v>25</c:v>
                </c:pt>
                <c:pt idx="12">
                  <c:v>25</c:v>
                </c:pt>
                <c:pt idx="13">
                  <c:v>26</c:v>
                </c:pt>
                <c:pt idx="14">
                  <c:v>26</c:v>
                </c:pt>
                <c:pt idx="15">
                  <c:v>26</c:v>
                </c:pt>
                <c:pt idx="16">
                  <c:v>26</c:v>
                </c:pt>
                <c:pt idx="17">
                  <c:v>26</c:v>
                </c:pt>
                <c:pt idx="18">
                  <c:v>27</c:v>
                </c:pt>
                <c:pt idx="19">
                  <c:v>27</c:v>
                </c:pt>
                <c:pt idx="20">
                  <c:v>27</c:v>
                </c:pt>
                <c:pt idx="21">
                  <c:v>27</c:v>
                </c:pt>
                <c:pt idx="22">
                  <c:v>27</c:v>
                </c:pt>
                <c:pt idx="23">
                  <c:v>28</c:v>
                </c:pt>
                <c:pt idx="24">
                  <c:v>28</c:v>
                </c:pt>
                <c:pt idx="25">
                  <c:v>28</c:v>
                </c:pt>
                <c:pt idx="26">
                  <c:v>28</c:v>
                </c:pt>
                <c:pt idx="27">
                  <c:v>28</c:v>
                </c:pt>
                <c:pt idx="28">
                  <c:v>29</c:v>
                </c:pt>
                <c:pt idx="29">
                  <c:v>29</c:v>
                </c:pt>
                <c:pt idx="30">
                  <c:v>29</c:v>
                </c:pt>
                <c:pt idx="31">
                  <c:v>29</c:v>
                </c:pt>
                <c:pt idx="32">
                  <c:v>29</c:v>
                </c:pt>
                <c:pt idx="33">
                  <c:v>30</c:v>
                </c:pt>
                <c:pt idx="34">
                  <c:v>30</c:v>
                </c:pt>
                <c:pt idx="35">
                  <c:v>30</c:v>
                </c:pt>
                <c:pt idx="36">
                  <c:v>30</c:v>
                </c:pt>
                <c:pt idx="37">
                  <c:v>30</c:v>
                </c:pt>
                <c:pt idx="38">
                  <c:v>31</c:v>
                </c:pt>
                <c:pt idx="39">
                  <c:v>31</c:v>
                </c:pt>
                <c:pt idx="40">
                  <c:v>31</c:v>
                </c:pt>
                <c:pt idx="41">
                  <c:v>31</c:v>
                </c:pt>
                <c:pt idx="42">
                  <c:v>31</c:v>
                </c:pt>
                <c:pt idx="43">
                  <c:v>32</c:v>
                </c:pt>
                <c:pt idx="44">
                  <c:v>32</c:v>
                </c:pt>
                <c:pt idx="45">
                  <c:v>32</c:v>
                </c:pt>
                <c:pt idx="46">
                  <c:v>32</c:v>
                </c:pt>
                <c:pt idx="47">
                  <c:v>32</c:v>
                </c:pt>
                <c:pt idx="48">
                  <c:v>33</c:v>
                </c:pt>
                <c:pt idx="49">
                  <c:v>33</c:v>
                </c:pt>
                <c:pt idx="50">
                  <c:v>33</c:v>
                </c:pt>
                <c:pt idx="51">
                  <c:v>33</c:v>
                </c:pt>
                <c:pt idx="52">
                  <c:v>33</c:v>
                </c:pt>
                <c:pt idx="53">
                  <c:v>34</c:v>
                </c:pt>
                <c:pt idx="54">
                  <c:v>34</c:v>
                </c:pt>
                <c:pt idx="55">
                  <c:v>34</c:v>
                </c:pt>
                <c:pt idx="56">
                  <c:v>34</c:v>
                </c:pt>
              </c:strCache>
            </c:strRef>
          </c:cat>
          <c:val>
            <c:numRef>
              <c:f>Sheet1!$B$2:$B$58</c:f>
              <c:numCache>
                <c:formatCode>General</c:formatCode>
                <c:ptCount val="57"/>
                <c:pt idx="0">
                  <c:v>119.10996765230308</c:v>
                </c:pt>
                <c:pt idx="1">
                  <c:v>118.16574641077224</c:v>
                </c:pt>
                <c:pt idx="2">
                  <c:v>117.24245519566708</c:v>
                </c:pt>
                <c:pt idx="3">
                  <c:v>116.33949910391281</c:v>
                </c:pt>
                <c:pt idx="4">
                  <c:v>115.4562886757711</c:v>
                </c:pt>
                <c:pt idx="5">
                  <c:v>114.59224118154383</c:v>
                </c:pt>
                <c:pt idx="6">
                  <c:v>113.51061745045673</c:v>
                </c:pt>
                <c:pt idx="7">
                  <c:v>112.44614694113102</c:v>
                </c:pt>
                <c:pt idx="8">
                  <c:v>111.39844902790243</c:v>
                </c:pt>
                <c:pt idx="9">
                  <c:v>110.36714463340932</c:v>
                </c:pt>
                <c:pt idx="10">
                  <c:v>109.35185703039005</c:v>
                </c:pt>
                <c:pt idx="11">
                  <c:v>108.35221257964218</c:v>
                </c:pt>
                <c:pt idx="12">
                  <c:v>107.36784140534164</c:v>
                </c:pt>
                <c:pt idx="13">
                  <c:v>106.39837800922007</c:v>
                </c:pt>
                <c:pt idx="14">
                  <c:v>105.44346182536654</c:v>
                </c:pt>
                <c:pt idx="15">
                  <c:v>104.50273771763239</c:v>
                </c:pt>
                <c:pt idx="16">
                  <c:v>103.57585642181833</c:v>
                </c:pt>
                <c:pt idx="17">
                  <c:v>102.66247493496114</c:v>
                </c:pt>
                <c:pt idx="18">
                  <c:v>101.76225685417852</c:v>
                </c:pt>
                <c:pt idx="19">
                  <c:v>100.87487266759906</c:v>
                </c:pt>
                <c:pt idx="20">
                  <c:v>100.0</c:v>
                </c:pt>
                <c:pt idx="21">
                  <c:v>99.51458100171563</c:v>
                </c:pt>
                <c:pt idx="22">
                  <c:v>99.03252788014568</c:v>
                </c:pt>
                <c:pt idx="23">
                  <c:v>98.5538050049333</c:v>
                </c:pt>
                <c:pt idx="24">
                  <c:v>98.07837711837621</c:v>
                </c:pt>
                <c:pt idx="25">
                  <c:v>97.60620933541921</c:v>
                </c:pt>
                <c:pt idx="26">
                  <c:v>97.13726714343896</c:v>
                </c:pt>
                <c:pt idx="27">
                  <c:v>96.6715164018373</c:v>
                </c:pt>
                <c:pt idx="28">
                  <c:v>96.20892334144946</c:v>
                </c:pt>
                <c:pt idx="29">
                  <c:v>95.7494545637798</c:v>
                </c:pt>
                <c:pt idx="30">
                  <c:v>95.29307704007444</c:v>
                </c:pt>
                <c:pt idx="31">
                  <c:v>94.83975811024307</c:v>
                </c:pt>
                <c:pt idx="32">
                  <c:v>94.38946548163696</c:v>
                </c:pt>
                <c:pt idx="33">
                  <c:v>93.94216722769225</c:v>
                </c:pt>
                <c:pt idx="34">
                  <c:v>93.49783178644861</c:v>
                </c:pt>
                <c:pt idx="35">
                  <c:v>93.05642795895004</c:v>
                </c:pt>
                <c:pt idx="36">
                  <c:v>92.61792490753493</c:v>
                </c:pt>
                <c:pt idx="37">
                  <c:v>92.18229215402545</c:v>
                </c:pt>
                <c:pt idx="38">
                  <c:v>91.74949957782094</c:v>
                </c:pt>
                <c:pt idx="39">
                  <c:v>91.31951741390206</c:v>
                </c:pt>
                <c:pt idx="40">
                  <c:v>90.89231625075223</c:v>
                </c:pt>
                <c:pt idx="41">
                  <c:v>90.46786702820364</c:v>
                </c:pt>
                <c:pt idx="42">
                  <c:v>90.04614103521169</c:v>
                </c:pt>
                <c:pt idx="43">
                  <c:v>89.62710990756449</c:v>
                </c:pt>
                <c:pt idx="44">
                  <c:v>89.21074562552967</c:v>
                </c:pt>
                <c:pt idx="45">
                  <c:v>88.79702051144871</c:v>
                </c:pt>
                <c:pt idx="46">
                  <c:v>88.38590722727648</c:v>
                </c:pt>
                <c:pt idx="47">
                  <c:v>87.97737877207665</c:v>
                </c:pt>
                <c:pt idx="48">
                  <c:v>87.5714084794721</c:v>
                </c:pt>
                <c:pt idx="49">
                  <c:v>87.16797001505554</c:v>
                </c:pt>
                <c:pt idx="50">
                  <c:v>86.76703737376634</c:v>
                </c:pt>
                <c:pt idx="51">
                  <c:v>86.36858487723215</c:v>
                </c:pt>
                <c:pt idx="52">
                  <c:v>85.97258717108186</c:v>
                </c:pt>
                <c:pt idx="53">
                  <c:v>85.57901922223206</c:v>
                </c:pt>
                <c:pt idx="54">
                  <c:v>85.18785631615006</c:v>
                </c:pt>
                <c:pt idx="55">
                  <c:v>84.799074054093</c:v>
                </c:pt>
                <c:pt idx="56">
                  <c:v>84.412648350330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58</c:f>
              <c:strCache>
                <c:ptCount val="57"/>
                <c:pt idx="0">
                  <c:v>23</c:v>
                </c:pt>
                <c:pt idx="1">
                  <c:v>23</c:v>
                </c:pt>
                <c:pt idx="2">
                  <c:v>23</c:v>
                </c:pt>
                <c:pt idx="3">
                  <c:v>24</c:v>
                </c:pt>
                <c:pt idx="4">
                  <c:v>24</c:v>
                </c:pt>
                <c:pt idx="5">
                  <c:v>24</c:v>
                </c:pt>
                <c:pt idx="6">
                  <c:v>24</c:v>
                </c:pt>
                <c:pt idx="7">
                  <c:v>24</c:v>
                </c:pt>
                <c:pt idx="8">
                  <c:v>25</c:v>
                </c:pt>
                <c:pt idx="9">
                  <c:v>25</c:v>
                </c:pt>
                <c:pt idx="10">
                  <c:v>25</c:v>
                </c:pt>
                <c:pt idx="11">
                  <c:v>25</c:v>
                </c:pt>
                <c:pt idx="12">
                  <c:v>25</c:v>
                </c:pt>
                <c:pt idx="13">
                  <c:v>26</c:v>
                </c:pt>
                <c:pt idx="14">
                  <c:v>26</c:v>
                </c:pt>
                <c:pt idx="15">
                  <c:v>26</c:v>
                </c:pt>
                <c:pt idx="16">
                  <c:v>26</c:v>
                </c:pt>
                <c:pt idx="17">
                  <c:v>26</c:v>
                </c:pt>
                <c:pt idx="18">
                  <c:v>27</c:v>
                </c:pt>
                <c:pt idx="19">
                  <c:v>27</c:v>
                </c:pt>
                <c:pt idx="20">
                  <c:v>27</c:v>
                </c:pt>
                <c:pt idx="21">
                  <c:v>27</c:v>
                </c:pt>
                <c:pt idx="22">
                  <c:v>27</c:v>
                </c:pt>
                <c:pt idx="23">
                  <c:v>28</c:v>
                </c:pt>
                <c:pt idx="24">
                  <c:v>28</c:v>
                </c:pt>
                <c:pt idx="25">
                  <c:v>28</c:v>
                </c:pt>
                <c:pt idx="26">
                  <c:v>28</c:v>
                </c:pt>
                <c:pt idx="27">
                  <c:v>28</c:v>
                </c:pt>
                <c:pt idx="28">
                  <c:v>29</c:v>
                </c:pt>
                <c:pt idx="29">
                  <c:v>29</c:v>
                </c:pt>
                <c:pt idx="30">
                  <c:v>29</c:v>
                </c:pt>
                <c:pt idx="31">
                  <c:v>29</c:v>
                </c:pt>
                <c:pt idx="32">
                  <c:v>29</c:v>
                </c:pt>
                <c:pt idx="33">
                  <c:v>30</c:v>
                </c:pt>
                <c:pt idx="34">
                  <c:v>30</c:v>
                </c:pt>
                <c:pt idx="35">
                  <c:v>30</c:v>
                </c:pt>
                <c:pt idx="36">
                  <c:v>30</c:v>
                </c:pt>
                <c:pt idx="37">
                  <c:v>30</c:v>
                </c:pt>
                <c:pt idx="38">
                  <c:v>31</c:v>
                </c:pt>
                <c:pt idx="39">
                  <c:v>31</c:v>
                </c:pt>
                <c:pt idx="40">
                  <c:v>31</c:v>
                </c:pt>
                <c:pt idx="41">
                  <c:v>31</c:v>
                </c:pt>
                <c:pt idx="42">
                  <c:v>31</c:v>
                </c:pt>
                <c:pt idx="43">
                  <c:v>32</c:v>
                </c:pt>
                <c:pt idx="44">
                  <c:v>32</c:v>
                </c:pt>
                <c:pt idx="45">
                  <c:v>32</c:v>
                </c:pt>
                <c:pt idx="46">
                  <c:v>32</c:v>
                </c:pt>
                <c:pt idx="47">
                  <c:v>32</c:v>
                </c:pt>
                <c:pt idx="48">
                  <c:v>33</c:v>
                </c:pt>
                <c:pt idx="49">
                  <c:v>33</c:v>
                </c:pt>
                <c:pt idx="50">
                  <c:v>33</c:v>
                </c:pt>
                <c:pt idx="51">
                  <c:v>33</c:v>
                </c:pt>
                <c:pt idx="52">
                  <c:v>33</c:v>
                </c:pt>
                <c:pt idx="53">
                  <c:v>34</c:v>
                </c:pt>
                <c:pt idx="54">
                  <c:v>34</c:v>
                </c:pt>
                <c:pt idx="55">
                  <c:v>34</c:v>
                </c:pt>
                <c:pt idx="56">
                  <c:v>34</c:v>
                </c:pt>
              </c:strCache>
            </c:strRef>
          </c:cat>
          <c:val>
            <c:numRef>
              <c:f>Sheet1!$C$2:$C$58</c:f>
              <c:numCache>
                <c:formatCode>General</c:formatCode>
                <c:ptCount val="57"/>
                <c:pt idx="0">
                  <c:v>101.58245364704375</c:v>
                </c:pt>
                <c:pt idx="1">
                  <c:v>101.64561966732668</c:v>
                </c:pt>
                <c:pt idx="2">
                  <c:v>101.71301362272882</c:v>
                </c:pt>
                <c:pt idx="3">
                  <c:v>101.78457627593683</c:v>
                </c:pt>
                <c:pt idx="4">
                  <c:v>101.86023583118904</c:v>
                </c:pt>
                <c:pt idx="5">
                  <c:v>101.93990927181622</c:v>
                </c:pt>
                <c:pt idx="6">
                  <c:v>101.81298196723128</c:v>
                </c:pt>
                <c:pt idx="7">
                  <c:v>101.68568368494783</c:v>
                </c:pt>
                <c:pt idx="8">
                  <c:v>101.55804501536258</c:v>
                </c:pt>
                <c:pt idx="9">
                  <c:v>101.43008686302339</c:v>
                </c:pt>
                <c:pt idx="10">
                  <c:v>101.3018212422947</c:v>
                </c:pt>
                <c:pt idx="11">
                  <c:v>101.17325204853853</c:v>
                </c:pt>
                <c:pt idx="12">
                  <c:v>101.04437580271428</c:v>
                </c:pt>
                <c:pt idx="13">
                  <c:v>100.91518236764843</c:v>
                </c:pt>
                <c:pt idx="14">
                  <c:v>100.78565563456667</c:v>
                </c:pt>
                <c:pt idx="15">
                  <c:v>100.65577417878275</c:v>
                </c:pt>
                <c:pt idx="16">
                  <c:v>100.52551188374392</c:v>
                </c:pt>
                <c:pt idx="17">
                  <c:v>100.39483853289302</c:v>
                </c:pt>
                <c:pt idx="18">
                  <c:v>100.26372036907777</c:v>
                </c:pt>
                <c:pt idx="19">
                  <c:v>100.13212062144494</c:v>
                </c:pt>
                <c:pt idx="20">
                  <c:v>100.0</c:v>
                </c:pt>
                <c:pt idx="21">
                  <c:v>100.24437246979834</c:v>
                </c:pt>
                <c:pt idx="22">
                  <c:v>100.48501186090502</c:v>
                </c:pt>
                <c:pt idx="23">
                  <c:v>100.72195724461702</c:v>
                </c:pt>
                <c:pt idx="24">
                  <c:v>100.95524699252125</c:v>
                </c:pt>
                <c:pt idx="25">
                  <c:v>101.184918791184</c:v>
                </c:pt>
                <c:pt idx="26">
                  <c:v>101.41100965659106</c:v>
                </c:pt>
                <c:pt idx="27">
                  <c:v>101.63355594834664</c:v>
                </c:pt>
                <c:pt idx="28">
                  <c:v>101.85259338362884</c:v>
                </c:pt>
                <c:pt idx="29">
                  <c:v>102.06815705090636</c:v>
                </c:pt>
                <c:pt idx="30">
                  <c:v>102.28028142341819</c:v>
                </c:pt>
                <c:pt idx="31">
                  <c:v>102.4890003724233</c:v>
                </c:pt>
                <c:pt idx="32">
                  <c:v>102.69434718021913</c:v>
                </c:pt>
                <c:pt idx="33">
                  <c:v>102.89635455293407</c:v>
                </c:pt>
                <c:pt idx="34">
                  <c:v>103.09505463309752</c:v>
                </c:pt>
                <c:pt idx="35">
                  <c:v>103.2904790119906</c:v>
                </c:pt>
                <c:pt idx="36">
                  <c:v>103.48265874177902</c:v>
                </c:pt>
                <c:pt idx="37">
                  <c:v>103.67162434743516</c:v>
                </c:pt>
                <c:pt idx="38">
                  <c:v>103.85740583845045</c:v>
                </c:pt>
                <c:pt idx="39">
                  <c:v>104.04003272034001</c:v>
                </c:pt>
                <c:pt idx="40">
                  <c:v>104.21953400594526</c:v>
                </c:pt>
                <c:pt idx="41">
                  <c:v>104.3959382265375</c:v>
                </c:pt>
                <c:pt idx="42">
                  <c:v>104.56927344272466</c:v>
                </c:pt>
                <c:pt idx="43">
                  <c:v>104.7395672551652</c:v>
                </c:pt>
                <c:pt idx="44">
                  <c:v>104.90684681508992</c:v>
                </c:pt>
                <c:pt idx="45">
                  <c:v>105.07113883464068</c:v>
                </c:pt>
                <c:pt idx="46">
                  <c:v>105.23246959702006</c:v>
                </c:pt>
                <c:pt idx="47">
                  <c:v>105.39086496646503</c:v>
                </c:pt>
                <c:pt idx="48">
                  <c:v>105.54635039803897</c:v>
                </c:pt>
                <c:pt idx="49">
                  <c:v>105.69895094724859</c:v>
                </c:pt>
                <c:pt idx="50">
                  <c:v>105.84869127949064</c:v>
                </c:pt>
                <c:pt idx="51">
                  <c:v>105.99559567932482</c:v>
                </c:pt>
                <c:pt idx="52">
                  <c:v>106.13968805958203</c:v>
                </c:pt>
                <c:pt idx="53">
                  <c:v>106.28099197030596</c:v>
                </c:pt>
                <c:pt idx="54">
                  <c:v>106.41953060753421</c:v>
                </c:pt>
                <c:pt idx="55">
                  <c:v>106.5553268219162</c:v>
                </c:pt>
                <c:pt idx="56">
                  <c:v>106.6884031271754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58</c:f>
              <c:strCache>
                <c:ptCount val="57"/>
                <c:pt idx="0">
                  <c:v>23</c:v>
                </c:pt>
                <c:pt idx="1">
                  <c:v>23</c:v>
                </c:pt>
                <c:pt idx="2">
                  <c:v>23</c:v>
                </c:pt>
                <c:pt idx="3">
                  <c:v>24</c:v>
                </c:pt>
                <c:pt idx="4">
                  <c:v>24</c:v>
                </c:pt>
                <c:pt idx="5">
                  <c:v>24</c:v>
                </c:pt>
                <c:pt idx="6">
                  <c:v>24</c:v>
                </c:pt>
                <c:pt idx="7">
                  <c:v>24</c:v>
                </c:pt>
                <c:pt idx="8">
                  <c:v>25</c:v>
                </c:pt>
                <c:pt idx="9">
                  <c:v>25</c:v>
                </c:pt>
                <c:pt idx="10">
                  <c:v>25</c:v>
                </c:pt>
                <c:pt idx="11">
                  <c:v>25</c:v>
                </c:pt>
                <c:pt idx="12">
                  <c:v>25</c:v>
                </c:pt>
                <c:pt idx="13">
                  <c:v>26</c:v>
                </c:pt>
                <c:pt idx="14">
                  <c:v>26</c:v>
                </c:pt>
                <c:pt idx="15">
                  <c:v>26</c:v>
                </c:pt>
                <c:pt idx="16">
                  <c:v>26</c:v>
                </c:pt>
                <c:pt idx="17">
                  <c:v>26</c:v>
                </c:pt>
                <c:pt idx="18">
                  <c:v>27</c:v>
                </c:pt>
                <c:pt idx="19">
                  <c:v>27</c:v>
                </c:pt>
                <c:pt idx="20">
                  <c:v>27</c:v>
                </c:pt>
                <c:pt idx="21">
                  <c:v>27</c:v>
                </c:pt>
                <c:pt idx="22">
                  <c:v>27</c:v>
                </c:pt>
                <c:pt idx="23">
                  <c:v>28</c:v>
                </c:pt>
                <c:pt idx="24">
                  <c:v>28</c:v>
                </c:pt>
                <c:pt idx="25">
                  <c:v>28</c:v>
                </c:pt>
                <c:pt idx="26">
                  <c:v>28</c:v>
                </c:pt>
                <c:pt idx="27">
                  <c:v>28</c:v>
                </c:pt>
                <c:pt idx="28">
                  <c:v>29</c:v>
                </c:pt>
                <c:pt idx="29">
                  <c:v>29</c:v>
                </c:pt>
                <c:pt idx="30">
                  <c:v>29</c:v>
                </c:pt>
                <c:pt idx="31">
                  <c:v>29</c:v>
                </c:pt>
                <c:pt idx="32">
                  <c:v>29</c:v>
                </c:pt>
                <c:pt idx="33">
                  <c:v>30</c:v>
                </c:pt>
                <c:pt idx="34">
                  <c:v>30</c:v>
                </c:pt>
                <c:pt idx="35">
                  <c:v>30</c:v>
                </c:pt>
                <c:pt idx="36">
                  <c:v>30</c:v>
                </c:pt>
                <c:pt idx="37">
                  <c:v>30</c:v>
                </c:pt>
                <c:pt idx="38">
                  <c:v>31</c:v>
                </c:pt>
                <c:pt idx="39">
                  <c:v>31</c:v>
                </c:pt>
                <c:pt idx="40">
                  <c:v>31</c:v>
                </c:pt>
                <c:pt idx="41">
                  <c:v>31</c:v>
                </c:pt>
                <c:pt idx="42">
                  <c:v>31</c:v>
                </c:pt>
                <c:pt idx="43">
                  <c:v>32</c:v>
                </c:pt>
                <c:pt idx="44">
                  <c:v>32</c:v>
                </c:pt>
                <c:pt idx="45">
                  <c:v>32</c:v>
                </c:pt>
                <c:pt idx="46">
                  <c:v>32</c:v>
                </c:pt>
                <c:pt idx="47">
                  <c:v>32</c:v>
                </c:pt>
                <c:pt idx="48">
                  <c:v>33</c:v>
                </c:pt>
                <c:pt idx="49">
                  <c:v>33</c:v>
                </c:pt>
                <c:pt idx="50">
                  <c:v>33</c:v>
                </c:pt>
                <c:pt idx="51">
                  <c:v>33</c:v>
                </c:pt>
                <c:pt idx="52">
                  <c:v>33</c:v>
                </c:pt>
                <c:pt idx="53">
                  <c:v>34</c:v>
                </c:pt>
                <c:pt idx="54">
                  <c:v>34</c:v>
                </c:pt>
                <c:pt idx="55">
                  <c:v>34</c:v>
                </c:pt>
                <c:pt idx="56">
                  <c:v>34</c:v>
                </c:pt>
              </c:strCache>
            </c:strRef>
          </c:cat>
          <c:val>
            <c:numRef>
              <c:f>Sheet1!$D$2:$D$58</c:f>
              <c:numCache>
                <c:formatCode>General</c:formatCode>
                <c:ptCount val="57"/>
                <c:pt idx="0">
                  <c:v>93.64603537724352</c:v>
                </c:pt>
                <c:pt idx="1">
                  <c:v>94.16622329593677</c:v>
                </c:pt>
                <c:pt idx="2">
                  <c:v>94.683162373199</c:v>
                </c:pt>
                <c:pt idx="3">
                  <c:v>95.19703424961116</c:v>
                </c:pt>
                <c:pt idx="4">
                  <c:v>95.70799990589056</c:v>
                </c:pt>
                <c:pt idx="5">
                  <c:v>96.21620101561457</c:v>
                </c:pt>
                <c:pt idx="6">
                  <c:v>96.52124594020812</c:v>
                </c:pt>
                <c:pt idx="7">
                  <c:v>96.81798352660829</c:v>
                </c:pt>
                <c:pt idx="8">
                  <c:v>97.10662955280013</c:v>
                </c:pt>
                <c:pt idx="9">
                  <c:v>97.38738507718067</c:v>
                </c:pt>
                <c:pt idx="10">
                  <c:v>97.66043722405342</c:v>
                </c:pt>
                <c:pt idx="11">
                  <c:v>97.92595996336551</c:v>
                </c:pt>
                <c:pt idx="12">
                  <c:v>98.18411488103291</c:v>
                </c:pt>
                <c:pt idx="13">
                  <c:v>98.43505193657708</c:v>
                </c:pt>
                <c:pt idx="14">
                  <c:v>98.67891020516402</c:v>
                </c:pt>
                <c:pt idx="15">
                  <c:v>98.91581860148493</c:v>
                </c:pt>
                <c:pt idx="16">
                  <c:v>99.1458965832724</c:v>
                </c:pt>
                <c:pt idx="17">
                  <c:v>99.36925483256088</c:v>
                </c:pt>
                <c:pt idx="18">
                  <c:v>99.58599591313272</c:v>
                </c:pt>
                <c:pt idx="19">
                  <c:v>99.79621490286458</c:v>
                </c:pt>
                <c:pt idx="20">
                  <c:v>100.0</c:v>
                </c:pt>
                <c:pt idx="21">
                  <c:v>100.57722897918569</c:v>
                </c:pt>
                <c:pt idx="22">
                  <c:v>101.14755947751037</c:v>
                </c:pt>
                <c:pt idx="23">
                  <c:v>101.7110618953562</c:v>
                </c:pt>
                <c:pt idx="24">
                  <c:v>102.2678055124761</c:v>
                </c:pt>
                <c:pt idx="25">
                  <c:v>102.81785850761216</c:v>
                </c:pt>
                <c:pt idx="26">
                  <c:v>103.36128797789567</c:v>
                </c:pt>
                <c:pt idx="27">
                  <c:v>103.89815995803356</c:v>
                </c:pt>
                <c:pt idx="28">
                  <c:v>104.42853943927126</c:v>
                </c:pt>
                <c:pt idx="29">
                  <c:v>104.95249038813506</c:v>
                </c:pt>
                <c:pt idx="30">
                  <c:v>105.47007576494694</c:v>
                </c:pt>
                <c:pt idx="31">
                  <c:v>105.98135754211953</c:v>
                </c:pt>
                <c:pt idx="32">
                  <c:v>106.4863967222216</c:v>
                </c:pt>
                <c:pt idx="33">
                  <c:v>106.98525335581766</c:v>
                </c:pt>
                <c:pt idx="34">
                  <c:v>107.47798655908079</c:v>
                </c:pt>
                <c:pt idx="35">
                  <c:v>107.96465453118054</c:v>
                </c:pt>
                <c:pt idx="36">
                  <c:v>108.44531457144035</c:v>
                </c:pt>
                <c:pt idx="37">
                  <c:v>108.92002309627338</c:v>
                </c:pt>
                <c:pt idx="38">
                  <c:v>109.38883565589008</c:v>
                </c:pt>
                <c:pt idx="39">
                  <c:v>109.85180695078252</c:v>
                </c:pt>
                <c:pt idx="40">
                  <c:v>110.30899084798303</c:v>
                </c:pt>
                <c:pt idx="41">
                  <c:v>110.76044039710283</c:v>
                </c:pt>
                <c:pt idx="42">
                  <c:v>111.20620784614721</c:v>
                </c:pt>
                <c:pt idx="43">
                  <c:v>111.64634465711268</c:v>
                </c:pt>
                <c:pt idx="44">
                  <c:v>112.08090152136111</c:v>
                </c:pt>
                <c:pt idx="45">
                  <c:v>112.50992837478249</c:v>
                </c:pt>
                <c:pt idx="46">
                  <c:v>112.93347441273515</c:v>
                </c:pt>
                <c:pt idx="47">
                  <c:v>113.35158810477755</c:v>
                </c:pt>
                <c:pt idx="48">
                  <c:v>113.76431720918319</c:v>
                </c:pt>
                <c:pt idx="49">
                  <c:v>114.17170878724541</c:v>
                </c:pt>
                <c:pt idx="50">
                  <c:v>114.57380921737412</c:v>
                </c:pt>
                <c:pt idx="51">
                  <c:v>114.97066420898146</c:v>
                </c:pt>
                <c:pt idx="52">
                  <c:v>115.36231881616317</c:v>
                </c:pt>
                <c:pt idx="53">
                  <c:v>115.74881745117413</c:v>
                </c:pt>
                <c:pt idx="54">
                  <c:v>116.13020389770286</c:v>
                </c:pt>
                <c:pt idx="55">
                  <c:v>116.50652132394015</c:v>
                </c:pt>
                <c:pt idx="56">
                  <c:v>116.8778122954518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58</c:f>
              <c:strCache>
                <c:ptCount val="57"/>
                <c:pt idx="0">
                  <c:v>23</c:v>
                </c:pt>
                <c:pt idx="1">
                  <c:v>23</c:v>
                </c:pt>
                <c:pt idx="2">
                  <c:v>23</c:v>
                </c:pt>
                <c:pt idx="3">
                  <c:v>24</c:v>
                </c:pt>
                <c:pt idx="4">
                  <c:v>24</c:v>
                </c:pt>
                <c:pt idx="5">
                  <c:v>24</c:v>
                </c:pt>
                <c:pt idx="6">
                  <c:v>24</c:v>
                </c:pt>
                <c:pt idx="7">
                  <c:v>24</c:v>
                </c:pt>
                <c:pt idx="8">
                  <c:v>25</c:v>
                </c:pt>
                <c:pt idx="9">
                  <c:v>25</c:v>
                </c:pt>
                <c:pt idx="10">
                  <c:v>25</c:v>
                </c:pt>
                <c:pt idx="11">
                  <c:v>25</c:v>
                </c:pt>
                <c:pt idx="12">
                  <c:v>25</c:v>
                </c:pt>
                <c:pt idx="13">
                  <c:v>26</c:v>
                </c:pt>
                <c:pt idx="14">
                  <c:v>26</c:v>
                </c:pt>
                <c:pt idx="15">
                  <c:v>26</c:v>
                </c:pt>
                <c:pt idx="16">
                  <c:v>26</c:v>
                </c:pt>
                <c:pt idx="17">
                  <c:v>26</c:v>
                </c:pt>
                <c:pt idx="18">
                  <c:v>27</c:v>
                </c:pt>
                <c:pt idx="19">
                  <c:v>27</c:v>
                </c:pt>
                <c:pt idx="20">
                  <c:v>27</c:v>
                </c:pt>
                <c:pt idx="21">
                  <c:v>27</c:v>
                </c:pt>
                <c:pt idx="22">
                  <c:v>27</c:v>
                </c:pt>
                <c:pt idx="23">
                  <c:v>28</c:v>
                </c:pt>
                <c:pt idx="24">
                  <c:v>28</c:v>
                </c:pt>
                <c:pt idx="25">
                  <c:v>28</c:v>
                </c:pt>
                <c:pt idx="26">
                  <c:v>28</c:v>
                </c:pt>
                <c:pt idx="27">
                  <c:v>28</c:v>
                </c:pt>
                <c:pt idx="28">
                  <c:v>29</c:v>
                </c:pt>
                <c:pt idx="29">
                  <c:v>29</c:v>
                </c:pt>
                <c:pt idx="30">
                  <c:v>29</c:v>
                </c:pt>
                <c:pt idx="31">
                  <c:v>29</c:v>
                </c:pt>
                <c:pt idx="32">
                  <c:v>29</c:v>
                </c:pt>
                <c:pt idx="33">
                  <c:v>30</c:v>
                </c:pt>
                <c:pt idx="34">
                  <c:v>30</c:v>
                </c:pt>
                <c:pt idx="35">
                  <c:v>30</c:v>
                </c:pt>
                <c:pt idx="36">
                  <c:v>30</c:v>
                </c:pt>
                <c:pt idx="37">
                  <c:v>30</c:v>
                </c:pt>
                <c:pt idx="38">
                  <c:v>31</c:v>
                </c:pt>
                <c:pt idx="39">
                  <c:v>31</c:v>
                </c:pt>
                <c:pt idx="40">
                  <c:v>31</c:v>
                </c:pt>
                <c:pt idx="41">
                  <c:v>31</c:v>
                </c:pt>
                <c:pt idx="42">
                  <c:v>31</c:v>
                </c:pt>
                <c:pt idx="43">
                  <c:v>32</c:v>
                </c:pt>
                <c:pt idx="44">
                  <c:v>32</c:v>
                </c:pt>
                <c:pt idx="45">
                  <c:v>32</c:v>
                </c:pt>
                <c:pt idx="46">
                  <c:v>32</c:v>
                </c:pt>
                <c:pt idx="47">
                  <c:v>32</c:v>
                </c:pt>
                <c:pt idx="48">
                  <c:v>33</c:v>
                </c:pt>
                <c:pt idx="49">
                  <c:v>33</c:v>
                </c:pt>
                <c:pt idx="50">
                  <c:v>33</c:v>
                </c:pt>
                <c:pt idx="51">
                  <c:v>33</c:v>
                </c:pt>
                <c:pt idx="52">
                  <c:v>33</c:v>
                </c:pt>
                <c:pt idx="53">
                  <c:v>34</c:v>
                </c:pt>
                <c:pt idx="54">
                  <c:v>34</c:v>
                </c:pt>
                <c:pt idx="55">
                  <c:v>34</c:v>
                </c:pt>
                <c:pt idx="56">
                  <c:v>34</c:v>
                </c:pt>
              </c:strCache>
            </c:strRef>
          </c:cat>
          <c:val>
            <c:numRef>
              <c:f>Sheet1!$E$2:$E$58</c:f>
              <c:numCache>
                <c:formatCode>General</c:formatCode>
                <c:ptCount val="57"/>
                <c:pt idx="0">
                  <c:v>0.6426865773706332</c:v>
                </c:pt>
                <c:pt idx="1">
                  <c:v>0.6457708537852155</c:v>
                </c:pt>
                <c:pt idx="2">
                  <c:v>0.6488023398461037</c:v>
                </c:pt>
                <c:pt idx="3">
                  <c:v>0.6517823793892</c:v>
                </c:pt>
                <c:pt idx="4">
                  <c:v>0.654712271022442</c:v>
                </c:pt>
                <c:pt idx="5">
                  <c:v>0.6575932700126594</c:v>
                </c:pt>
                <c:pt idx="6">
                  <c:v>0.6604265900787523</c:v>
                </c:pt>
                <c:pt idx="7">
                  <c:v>0.6632134050965713</c:v>
                </c:pt>
                <c:pt idx="8">
                  <c:v>0.665954850720531</c:v>
                </c:pt>
                <c:pt idx="9">
                  <c:v>0.6686520259266631</c:v>
                </c:pt>
                <c:pt idx="10">
                  <c:v>0.6713059944815157</c:v>
                </c:pt>
                <c:pt idx="11">
                  <c:v>0.673917786341019</c:v>
                </c:pt>
                <c:pt idx="12">
                  <c:v>0.6764883989831867</c:v>
                </c:pt>
                <c:pt idx="13">
                  <c:v>0.6790187986782732</c:v>
                </c:pt>
                <c:pt idx="14">
                  <c:v>0.6815099216997844</c:v>
                </c:pt>
                <c:pt idx="15">
                  <c:v>0.6839626754795319</c:v>
                </c:pt>
                <c:pt idx="16">
                  <c:v>0.6863779397097227</c:v>
                </c:pt>
                <c:pt idx="17">
                  <c:v>0.6887565673948973</c:v>
                </c:pt>
                <c:pt idx="18">
                  <c:v>0.6910993858563584</c:v>
                </c:pt>
                <c:pt idx="19">
                  <c:v>0.6934071976915743</c:v>
                </c:pt>
                <c:pt idx="20">
                  <c:v>0.6956807816908953</c:v>
                </c:pt>
                <c:pt idx="21">
                  <c:v>0.6979208937137815</c:v>
                </c:pt>
                <c:pt idx="22">
                  <c:v>0.7001282675266147</c:v>
                </c:pt>
                <c:pt idx="23">
                  <c:v>0.7023036156040422</c:v>
                </c:pt>
                <c:pt idx="24">
                  <c:v>0.7044476298956949</c:v>
                </c:pt>
                <c:pt idx="25">
                  <c:v>0.7065609825600088</c:v>
                </c:pt>
                <c:pt idx="26">
                  <c:v>0.7086443266667889</c:v>
                </c:pt>
                <c:pt idx="27">
                  <c:v>0.7106982968700544</c:v>
                </c:pt>
                <c:pt idx="28">
                  <c:v>0.7127235100526231</c:v>
                </c:pt>
                <c:pt idx="29">
                  <c:v>0.7147205659438112</c:v>
                </c:pt>
                <c:pt idx="30">
                  <c:v>0.7166900477115444</c:v>
                </c:pt>
                <c:pt idx="31">
                  <c:v>0.7186325225301147</c:v>
                </c:pt>
                <c:pt idx="32">
                  <c:v>0.7205485421247342</c:v>
                </c:pt>
                <c:pt idx="33">
                  <c:v>0.7224386432939954</c:v>
                </c:pt>
                <c:pt idx="34">
                  <c:v>0.7243033484112679</c:v>
                </c:pt>
                <c:pt idx="35">
                  <c:v>0.7261431659060209</c:v>
                </c:pt>
                <c:pt idx="36">
                  <c:v>0.7279585907260008</c:v>
                </c:pt>
                <c:pt idx="37">
                  <c:v>0.7297501047811473</c:v>
                </c:pt>
                <c:pt idx="38">
                  <c:v>0.7315181773700832</c:v>
                </c:pt>
                <c:pt idx="39">
                  <c:v>0.7332632655899721</c:v>
                </c:pt>
                <c:pt idx="40">
                  <c:v>0.7349858147304954</c:v>
                </c:pt>
                <c:pt idx="41">
                  <c:v>0.736686258652661</c:v>
                </c:pt>
                <c:pt idx="42">
                  <c:v>0.7383650201531222</c:v>
                </c:pt>
                <c:pt idx="43">
                  <c:v>0.7400225113146482</c:v>
                </c:pt>
                <c:pt idx="44">
                  <c:v>0.7416591338433568</c:v>
                </c:pt>
                <c:pt idx="45">
                  <c:v>0.7432752793932887</c:v>
                </c:pt>
                <c:pt idx="46">
                  <c:v>0.744871329878876</c:v>
                </c:pt>
                <c:pt idx="47">
                  <c:v>0.7464476577758247</c:v>
                </c:pt>
                <c:pt idx="48">
                  <c:v>0.7480046264109134</c:v>
                </c:pt>
                <c:pt idx="49">
                  <c:v>0.7495425902411792</c:v>
                </c:pt>
                <c:pt idx="50">
                  <c:v>0.7510618951229434</c:v>
                </c:pt>
                <c:pt idx="51">
                  <c:v>0.7525628785711017</c:v>
                </c:pt>
                <c:pt idx="52">
                  <c:v>0.7540458700090933</c:v>
                </c:pt>
                <c:pt idx="53">
                  <c:v>0.7555111910099327</c:v>
                </c:pt>
                <c:pt idx="54">
                  <c:v>0.7569591555286775</c:v>
                </c:pt>
                <c:pt idx="55">
                  <c:v>0.7583900701266837</c:v>
                </c:pt>
                <c:pt idx="56">
                  <c:v>0.759804234187984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B$2:$B$32</c:f>
              <c:numCache>
                <c:formatCode>General</c:formatCode>
                <c:ptCount val="31"/>
                <c:pt idx="0">
                  <c:v>113.87260254417357</c:v>
                </c:pt>
                <c:pt idx="1">
                  <c:v>112.57473673675263</c:v>
                </c:pt>
                <c:pt idx="2">
                  <c:v>111.29775679150791</c:v>
                </c:pt>
                <c:pt idx="3">
                  <c:v>110.0413242808213</c:v>
                </c:pt>
                <c:pt idx="4">
                  <c:v>108.80510230646341</c:v>
                </c:pt>
                <c:pt idx="5">
                  <c:v>107.61571707348428</c:v>
                </c:pt>
                <c:pt idx="6">
                  <c:v>106.47280271353941</c:v>
                </c:pt>
                <c:pt idx="7">
                  <c:v>105.34894968784099</c:v>
                </c:pt>
                <c:pt idx="8">
                  <c:v>104.24370473831334</c:v>
                </c:pt>
                <c:pt idx="9">
                  <c:v>103.15662143110518</c:v>
                </c:pt>
                <c:pt idx="10">
                  <c:v>102.08726120420178</c:v>
                </c:pt>
                <c:pt idx="11">
                  <c:v>101.03519421356579</c:v>
                </c:pt>
                <c:pt idx="12">
                  <c:v>100.0</c:v>
                </c:pt>
                <c:pt idx="13">
                  <c:v>98.87206086264044</c:v>
                </c:pt>
                <c:pt idx="14">
                  <c:v>97.76250617586763</c:v>
                </c:pt>
                <c:pt idx="15">
                  <c:v>96.6711016811262</c:v>
                </c:pt>
                <c:pt idx="16">
                  <c:v>95.59760529169698</c:v>
                </c:pt>
                <c:pt idx="17">
                  <c:v>94.5417680499438</c:v>
                </c:pt>
                <c:pt idx="18">
                  <c:v>92.7951055018873</c:v>
                </c:pt>
                <c:pt idx="19">
                  <c:v>91.09741223963874</c:v>
                </c:pt>
                <c:pt idx="20">
                  <c:v>89.44768689939325</c:v>
                </c:pt>
                <c:pt idx="21">
                  <c:v>87.84487277752278</c:v>
                </c:pt>
                <c:pt idx="22">
                  <c:v>86.28786873363214</c:v>
                </c:pt>
                <c:pt idx="23">
                  <c:v>84.77553916375844</c:v>
                </c:pt>
                <c:pt idx="24">
                  <c:v>83.306723039956</c:v>
                </c:pt>
                <c:pt idx="25">
                  <c:v>81.88024203409883</c:v>
                </c:pt>
                <c:pt idx="26">
                  <c:v>80.49490776005509</c:v>
                </c:pt>
                <c:pt idx="27">
                  <c:v>79.14952817999412</c:v>
                </c:pt>
                <c:pt idx="28">
                  <c:v>77.84291322813904</c:v>
                </c:pt>
                <c:pt idx="29">
                  <c:v>76.57387970955722</c:v>
                </c:pt>
                <c:pt idx="30">
                  <c:v>75.3412555332484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C$2:$C$32</c:f>
              <c:numCache>
                <c:formatCode>General</c:formatCode>
                <c:ptCount val="31"/>
                <c:pt idx="0">
                  <c:v>95.83055523432638</c:v>
                </c:pt>
                <c:pt idx="1">
                  <c:v>96.22525789412337</c:v>
                </c:pt>
                <c:pt idx="2">
                  <c:v>96.60362001131207</c:v>
                </c:pt>
                <c:pt idx="3">
                  <c:v>96.96618686873975</c:v>
                </c:pt>
                <c:pt idx="4">
                  <c:v>97.31348619271787</c:v>
                </c:pt>
                <c:pt idx="5">
                  <c:v>97.67074781622408</c:v>
                </c:pt>
                <c:pt idx="6">
                  <c:v>98.03948477937932</c:v>
                </c:pt>
                <c:pt idx="7">
                  <c:v>98.3956935954242</c:v>
                </c:pt>
                <c:pt idx="8">
                  <c:v>98.7397109726298</c:v>
                </c:pt>
                <c:pt idx="9">
                  <c:v>99.0718555833654</c:v>
                </c:pt>
                <c:pt idx="10">
                  <c:v>99.39242957990395</c:v>
                </c:pt>
                <c:pt idx="11">
                  <c:v>99.70171999055052</c:v>
                </c:pt>
                <c:pt idx="12">
                  <c:v>100.0</c:v>
                </c:pt>
                <c:pt idx="13">
                  <c:v>100.1769884028529</c:v>
                </c:pt>
                <c:pt idx="14">
                  <c:v>100.34300673506296</c:v>
                </c:pt>
                <c:pt idx="15">
                  <c:v>100.49854641197729</c:v>
                </c:pt>
                <c:pt idx="16">
                  <c:v>100.64407768167708</c:v>
                </c:pt>
                <c:pt idx="17">
                  <c:v>100.7800501689865</c:v>
                </c:pt>
                <c:pt idx="18">
                  <c:v>100.14278012461418</c:v>
                </c:pt>
                <c:pt idx="19">
                  <c:v>99.51305155771647</c:v>
                </c:pt>
                <c:pt idx="20">
                  <c:v>98.89168450426669</c:v>
                </c:pt>
                <c:pt idx="21">
                  <c:v>98.27938463586915</c:v>
                </c:pt>
                <c:pt idx="22">
                  <c:v>97.6767520021354</c:v>
                </c:pt>
                <c:pt idx="23">
                  <c:v>97.08428955667982</c:v>
                </c:pt>
                <c:pt idx="24">
                  <c:v>96.50241137869993</c:v>
                </c:pt>
                <c:pt idx="25">
                  <c:v>95.93145052680542</c:v>
                </c:pt>
                <c:pt idx="26">
                  <c:v>95.37166648277191</c:v>
                </c:pt>
                <c:pt idx="27">
                  <c:v>94.82325216020138</c:v>
                </c:pt>
                <c:pt idx="28">
                  <c:v>94.28634046684344</c:v>
                </c:pt>
                <c:pt idx="29">
                  <c:v>93.76101042001758</c:v>
                </c:pt>
                <c:pt idx="30">
                  <c:v>93.2472928225412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D$2:$D$32</c:f>
              <c:numCache>
                <c:formatCode>General</c:formatCode>
                <c:ptCount val="31"/>
                <c:pt idx="0">
                  <c:v>87.91982865978667</c:v>
                </c:pt>
                <c:pt idx="1">
                  <c:v>89.05648420023499</c:v>
                </c:pt>
                <c:pt idx="2">
                  <c:v>90.1605276523198</c:v>
                </c:pt>
                <c:pt idx="3">
                  <c:v>91.23288294906972</c:v>
                </c:pt>
                <c:pt idx="4">
                  <c:v>92.27444884992957</c:v>
                </c:pt>
                <c:pt idx="5">
                  <c:v>93.30975860063377</c:v>
                </c:pt>
                <c:pt idx="6">
                  <c:v>94.34118638080892</c:v>
                </c:pt>
                <c:pt idx="7">
                  <c:v>95.34630672766772</c:v>
                </c:pt>
                <c:pt idx="8">
                  <c:v>96.32579589031111</c:v>
                </c:pt>
                <c:pt idx="9">
                  <c:v>97.28030152280671</c:v>
                </c:pt>
                <c:pt idx="10">
                  <c:v>98.2104443851519</c:v>
                </c:pt>
                <c:pt idx="11">
                  <c:v>99.11681996276056</c:v>
                </c:pt>
                <c:pt idx="12">
                  <c:v>100.0</c:v>
                </c:pt>
                <c:pt idx="13">
                  <c:v>100.74882408788535</c:v>
                </c:pt>
                <c:pt idx="14">
                  <c:v>101.47378029479522</c:v>
                </c:pt>
                <c:pt idx="15">
                  <c:v>102.17567637679394</c:v>
                </c:pt>
                <c:pt idx="16">
                  <c:v>102.85529342301032</c:v>
                </c:pt>
                <c:pt idx="17">
                  <c:v>103.51338618207504</c:v>
                </c:pt>
                <c:pt idx="18">
                  <c:v>103.35982845513074</c:v>
                </c:pt>
                <c:pt idx="19">
                  <c:v>103.1954747160593</c:v>
                </c:pt>
                <c:pt idx="20">
                  <c:v>103.02196466584093</c:v>
                </c:pt>
                <c:pt idx="21">
                  <c:v>102.8407962761247</c:v>
                </c:pt>
                <c:pt idx="22">
                  <c:v>102.65333361275641</c:v>
                </c:pt>
                <c:pt idx="23">
                  <c:v>102.46081476953061</c:v>
                </c:pt>
                <c:pt idx="24">
                  <c:v>102.2643597839511</c:v>
                </c:pt>
                <c:pt idx="25">
                  <c:v>102.0649784332748</c:v>
                </c:pt>
                <c:pt idx="26">
                  <c:v>101.86357783258819</c:v>
                </c:pt>
                <c:pt idx="27">
                  <c:v>101.66096977685295</c:v>
                </c:pt>
                <c:pt idx="28">
                  <c:v>101.45787778570734</c:v>
                </c:pt>
                <c:pt idx="29">
                  <c:v>101.25494382361306</c:v>
                </c:pt>
                <c:pt idx="30">
                  <c:v>101.0527346789441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E$2:$E$32</c:f>
              <c:numCache>
                <c:formatCode>General</c:formatCode>
                <c:ptCount val="31"/>
                <c:pt idx="0">
                  <c:v>0.644371299678177</c:v>
                </c:pt>
                <c:pt idx="1">
                  <c:v>0.6499410522282448</c:v>
                </c:pt>
                <c:pt idx="2">
                  <c:v>0.6553390313766143</c:v>
                </c:pt>
                <c:pt idx="3">
                  <c:v>0.6605730627907886</c:v>
                </c:pt>
                <c:pt idx="4">
                  <c:v>0.6656505038859152</c:v>
                </c:pt>
                <c:pt idx="5">
                  <c:v>0.6705782783312223</c:v>
                </c:pt>
                <c:pt idx="6">
                  <c:v>0.67536290754936</c:v>
                </c:pt>
                <c:pt idx="7">
                  <c:v>0.680010539509999</c:v>
                </c:pt>
                <c:pt idx="8">
                  <c:v>0.6845269750850167</c:v>
                </c:pt>
                <c:pt idx="9">
                  <c:v>0.6889176922028315</c:v>
                </c:pt>
                <c:pt idx="10">
                  <c:v>0.6931878680133622</c:v>
                </c:pt>
                <c:pt idx="11">
                  <c:v>0.6973423992521792</c:v>
                </c:pt>
                <c:pt idx="12">
                  <c:v>0.701385920972257</c:v>
                </c:pt>
                <c:pt idx="13">
                  <c:v>0.7053228237939806</c:v>
                </c:pt>
                <c:pt idx="14">
                  <c:v>0.7091572698083726</c:v>
                </c:pt>
                <c:pt idx="15">
                  <c:v>0.7128932072546362</c:v>
                </c:pt>
                <c:pt idx="16">
                  <c:v>0.7165343840808298</c:v>
                </c:pt>
                <c:pt idx="17">
                  <c:v>0.7200843604855784</c:v>
                </c:pt>
                <c:pt idx="18">
                  <c:v>0.7235465205290467</c:v>
                </c:pt>
                <c:pt idx="19">
                  <c:v>0.7269240828927727</c:v>
                </c:pt>
                <c:pt idx="20">
                  <c:v>0.7302201108602707</c:v>
                </c:pt>
                <c:pt idx="21">
                  <c:v>0.7334375215834638</c:v>
                </c:pt>
                <c:pt idx="22">
                  <c:v>0.7365790946938532</c:v>
                </c:pt>
                <c:pt idx="23">
                  <c:v>0.7396474803118631</c:v>
                </c:pt>
                <c:pt idx="24">
                  <c:v>0.7426452065028605</c:v>
                </c:pt>
                <c:pt idx="25">
                  <c:v>0.7455746862239435</c:v>
                </c:pt>
                <c:pt idx="26">
                  <c:v>0.7484382238016143</c:v>
                </c:pt>
                <c:pt idx="27">
                  <c:v>0.7512380209768884</c:v>
                </c:pt>
                <c:pt idx="28">
                  <c:v>0.7539761825511662</c:v>
                </c:pt>
                <c:pt idx="29">
                  <c:v>0.7566547216632927</c:v>
                </c:pt>
                <c:pt idx="30">
                  <c:v>0.759275564725615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B$2:$B$32</c:f>
              <c:numCache>
                <c:formatCode>General</c:formatCode>
                <c:ptCount val="31"/>
                <c:pt idx="0">
                  <c:v>110.79668796004007</c:v>
                </c:pt>
                <c:pt idx="1">
                  <c:v>109.71883907107281</c:v>
                </c:pt>
                <c:pt idx="2">
                  <c:v>108.65580379028526</c:v>
                </c:pt>
                <c:pt idx="3">
                  <c:v>107.60731177432505</c:v>
                </c:pt>
                <c:pt idx="4">
                  <c:v>106.5730982543523</c:v>
                </c:pt>
                <c:pt idx="5">
                  <c:v>105.63930817840739</c:v>
                </c:pt>
                <c:pt idx="6">
                  <c:v>104.80338702152967</c:v>
                </c:pt>
                <c:pt idx="7">
                  <c:v>103.97792895584563</c:v>
                </c:pt>
                <c:pt idx="8">
                  <c:v>103.1627097028295</c:v>
                </c:pt>
                <c:pt idx="9">
                  <c:v>102.35751272812759</c:v>
                </c:pt>
                <c:pt idx="10">
                  <c:v>101.56212894098546</c:v>
                </c:pt>
                <c:pt idx="11">
                  <c:v>100.77635639613918</c:v>
                </c:pt>
                <c:pt idx="12">
                  <c:v>100.0</c:v>
                </c:pt>
                <c:pt idx="13">
                  <c:v>98.96284799692275</c:v>
                </c:pt>
                <c:pt idx="14">
                  <c:v>97.93745397399394</c:v>
                </c:pt>
                <c:pt idx="15">
                  <c:v>96.92368629303121</c:v>
                </c:pt>
                <c:pt idx="16">
                  <c:v>95.9214145730956</c:v>
                </c:pt>
                <c:pt idx="17">
                  <c:v>94.93050983393655</c:v>
                </c:pt>
                <c:pt idx="18">
                  <c:v>93.7769078145303</c:v>
                </c:pt>
                <c:pt idx="19">
                  <c:v>92.65130156883518</c:v>
                </c:pt>
                <c:pt idx="20">
                  <c:v>91.55298895887192</c:v>
                </c:pt>
                <c:pt idx="21">
                  <c:v>90.48127045957278</c:v>
                </c:pt>
                <c:pt idx="22">
                  <c:v>89.43545042481877</c:v>
                </c:pt>
                <c:pt idx="23">
                  <c:v>88.4148382344726</c:v>
                </c:pt>
                <c:pt idx="24">
                  <c:v>87.41874934726175</c:v>
                </c:pt>
                <c:pt idx="25">
                  <c:v>86.44650627734953</c:v>
                </c:pt>
                <c:pt idx="26">
                  <c:v>85.49743950648143</c:v>
                </c:pt>
                <c:pt idx="27">
                  <c:v>84.57088833877087</c:v>
                </c:pt>
                <c:pt idx="28">
                  <c:v>83.66620170149349</c:v>
                </c:pt>
                <c:pt idx="29">
                  <c:v>82.78273889262272</c:v>
                </c:pt>
                <c:pt idx="30">
                  <c:v>81.9198702741105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C$2:$C$32</c:f>
              <c:numCache>
                <c:formatCode>General</c:formatCode>
                <c:ptCount val="31"/>
                <c:pt idx="0">
                  <c:v>93.2571584632339</c:v>
                </c:pt>
                <c:pt idx="1">
                  <c:v>93.79821685307097</c:v>
                </c:pt>
                <c:pt idx="2">
                  <c:v>94.3234265854488</c:v>
                </c:pt>
                <c:pt idx="3">
                  <c:v>94.83315316216948</c:v>
                </c:pt>
                <c:pt idx="4">
                  <c:v>95.32775192410696</c:v>
                </c:pt>
                <c:pt idx="5">
                  <c:v>95.886368436081</c:v>
                </c:pt>
                <c:pt idx="6">
                  <c:v>96.51059234737707</c:v>
                </c:pt>
                <c:pt idx="7">
                  <c:v>97.1222793725812</c:v>
                </c:pt>
                <c:pt idx="8">
                  <c:v>97.72164396427921</c:v>
                </c:pt>
                <c:pt idx="9">
                  <c:v>98.30889566241746</c:v>
                </c:pt>
                <c:pt idx="10">
                  <c:v>98.88423933481646</c:v>
                </c:pt>
                <c:pt idx="11">
                  <c:v>99.44787539507232</c:v>
                </c:pt>
                <c:pt idx="12">
                  <c:v>100.0</c:v>
                </c:pt>
                <c:pt idx="13">
                  <c:v>100.2669368189909</c:v>
                </c:pt>
                <c:pt idx="14">
                  <c:v>100.51849709904886</c:v>
                </c:pt>
                <c:pt idx="15">
                  <c:v>100.75501985828659</c:v>
                </c:pt>
                <c:pt idx="16">
                  <c:v>100.97683789459428</c:v>
                </c:pt>
                <c:pt idx="17">
                  <c:v>101.18427804756527</c:v>
                </c:pt>
                <c:pt idx="18">
                  <c:v>101.19041644595103</c:v>
                </c:pt>
                <c:pt idx="19">
                  <c:v>101.19671330214068</c:v>
                </c:pt>
                <c:pt idx="20">
                  <c:v>101.20349947268075</c:v>
                </c:pt>
                <c:pt idx="21">
                  <c:v>101.21107156192228</c:v>
                </c:pt>
                <c:pt idx="22">
                  <c:v>101.21969355910012</c:v>
                </c:pt>
                <c:pt idx="23">
                  <c:v>101.22959843568489</c:v>
                </c:pt>
                <c:pt idx="24">
                  <c:v>101.24098972110586</c:v>
                </c:pt>
                <c:pt idx="25">
                  <c:v>101.25404306931291</c:v>
                </c:pt>
                <c:pt idx="26">
                  <c:v>101.26890782345119</c:v>
                </c:pt>
                <c:pt idx="27">
                  <c:v>101.28570858138532</c:v>
                </c:pt>
                <c:pt idx="28">
                  <c:v>101.30454676106304</c:v>
                </c:pt>
                <c:pt idx="29">
                  <c:v>101.32550216183174</c:v>
                </c:pt>
                <c:pt idx="30">
                  <c:v>101.3486345157473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D$2:$D$32</c:f>
              <c:numCache>
                <c:formatCode>General</c:formatCode>
                <c:ptCount val="31"/>
                <c:pt idx="0">
                  <c:v>88.16878571955984</c:v>
                </c:pt>
                <c:pt idx="1">
                  <c:v>89.17814063175162</c:v>
                </c:pt>
                <c:pt idx="2">
                  <c:v>90.16287232531481</c:v>
                </c:pt>
                <c:pt idx="3">
                  <c:v>91.1235202438631</c:v>
                </c:pt>
                <c:pt idx="4">
                  <c:v>92.06060969653693</c:v>
                </c:pt>
                <c:pt idx="5">
                  <c:v>93.05179932379771</c:v>
                </c:pt>
                <c:pt idx="6">
                  <c:v>94.09993616993468</c:v>
                </c:pt>
                <c:pt idx="7">
                  <c:v>95.12902106000277</c:v>
                </c:pt>
                <c:pt idx="8">
                  <c:v>96.13938577385784</c:v>
                </c:pt>
                <c:pt idx="9">
                  <c:v>97.13135391159848</c:v>
                </c:pt>
                <c:pt idx="10">
                  <c:v>98.10524127592744</c:v>
                </c:pt>
                <c:pt idx="11">
                  <c:v>99.06135622529185</c:v>
                </c:pt>
                <c:pt idx="12">
                  <c:v>100.0</c:v>
                </c:pt>
                <c:pt idx="13">
                  <c:v>100.64426370466894</c:v>
                </c:pt>
                <c:pt idx="14">
                  <c:v>101.26523311595454</c:v>
                </c:pt>
                <c:pt idx="15">
                  <c:v>101.86337906247694</c:v>
                </c:pt>
                <c:pt idx="16">
                  <c:v>102.43916444475613</c:v>
                </c:pt>
                <c:pt idx="17">
                  <c:v>102.99304450849871</c:v>
                </c:pt>
                <c:pt idx="18">
                  <c:v>103.33491661809215</c:v>
                </c:pt>
                <c:pt idx="19">
                  <c:v>103.6688253525684</c:v>
                </c:pt>
                <c:pt idx="20">
                  <c:v>103.99540617621115</c:v>
                </c:pt>
                <c:pt idx="21">
                  <c:v>104.31524938627001</c:v>
                </c:pt>
                <c:pt idx="22">
                  <c:v>104.62890184911238</c:v>
                </c:pt>
                <c:pt idx="23">
                  <c:v>104.93686872211356</c:v>
                </c:pt>
                <c:pt idx="24">
                  <c:v>105.23961517718547</c:v>
                </c:pt>
                <c:pt idx="25">
                  <c:v>105.5375681366512</c:v>
                </c:pt>
                <c:pt idx="26">
                  <c:v>105.83111802721557</c:v>
                </c:pt>
                <c:pt idx="27">
                  <c:v>106.12062055333875</c:v>
                </c:pt>
                <c:pt idx="28">
                  <c:v>106.40639848756726</c:v>
                </c:pt>
                <c:pt idx="29">
                  <c:v>106.68874347242982</c:v>
                </c:pt>
                <c:pt idx="30">
                  <c:v>106.9679178263396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13</c:v>
                </c:pt>
                <c:pt idx="1">
                  <c:v>13</c:v>
                </c:pt>
                <c:pt idx="2">
                  <c:v>13</c:v>
                </c:pt>
                <c:pt idx="3">
                  <c:v>13</c:v>
                </c:pt>
                <c:pt idx="4">
                  <c:v>13</c:v>
                </c:pt>
                <c:pt idx="5">
                  <c:v>14</c:v>
                </c:pt>
                <c:pt idx="6">
                  <c:v>14</c:v>
                </c:pt>
                <c:pt idx="7">
                  <c:v>14</c:v>
                </c:pt>
                <c:pt idx="8">
                  <c:v>14</c:v>
                </c:pt>
                <c:pt idx="9">
                  <c:v>14</c:v>
                </c:pt>
                <c:pt idx="10">
                  <c:v>15</c:v>
                </c:pt>
                <c:pt idx="11">
                  <c:v>15</c:v>
                </c:pt>
                <c:pt idx="12">
                  <c:v>15</c:v>
                </c:pt>
                <c:pt idx="13">
                  <c:v>15</c:v>
                </c:pt>
                <c:pt idx="14">
                  <c:v>15</c:v>
                </c:pt>
                <c:pt idx="15">
                  <c:v>16</c:v>
                </c:pt>
                <c:pt idx="16">
                  <c:v>16</c:v>
                </c:pt>
                <c:pt idx="17">
                  <c:v>16</c:v>
                </c:pt>
                <c:pt idx="18">
                  <c:v>16</c:v>
                </c:pt>
                <c:pt idx="19">
                  <c:v>16</c:v>
                </c:pt>
                <c:pt idx="20">
                  <c:v>17</c:v>
                </c:pt>
                <c:pt idx="21">
                  <c:v>17</c:v>
                </c:pt>
                <c:pt idx="22">
                  <c:v>17</c:v>
                </c:pt>
                <c:pt idx="23">
                  <c:v>17</c:v>
                </c:pt>
                <c:pt idx="24">
                  <c:v>17</c:v>
                </c:pt>
                <c:pt idx="25">
                  <c:v>18</c:v>
                </c:pt>
                <c:pt idx="26">
                  <c:v>18</c:v>
                </c:pt>
                <c:pt idx="27">
                  <c:v>18</c:v>
                </c:pt>
                <c:pt idx="28">
                  <c:v>18</c:v>
                </c:pt>
                <c:pt idx="29">
                  <c:v>18</c:v>
                </c:pt>
                <c:pt idx="30">
                  <c:v>19</c:v>
                </c:pt>
              </c:strCache>
            </c:strRef>
          </c:cat>
          <c:val>
            <c:numRef>
              <c:f>Sheet1!$E$2:$E$32</c:f>
              <c:numCache>
                <c:formatCode>General</c:formatCode>
                <c:ptCount val="31"/>
                <c:pt idx="0">
                  <c:v>0.7405466034144212</c:v>
                </c:pt>
                <c:pt idx="1">
                  <c:v>0.7446100865246104</c:v>
                </c:pt>
                <c:pt idx="2">
                  <c:v>0.7485482501865284</c:v>
                </c:pt>
                <c:pt idx="3">
                  <c:v>0.7523668037144476</c:v>
                </c:pt>
                <c:pt idx="4">
                  <c:v>0.7560711148032367</c:v>
                </c:pt>
                <c:pt idx="5">
                  <c:v>0.7596662347029679</c:v>
                </c:pt>
                <c:pt idx="6">
                  <c:v>0.763156921199657</c:v>
                </c:pt>
                <c:pt idx="7">
                  <c:v>0.7665476596219953</c:v>
                </c:pt>
                <c:pt idx="8">
                  <c:v>0.769842682069109</c:v>
                </c:pt>
                <c:pt idx="9">
                  <c:v>0.7730459850326565</c:v>
                </c:pt>
                <c:pt idx="10">
                  <c:v>0.7761613455675549</c:v>
                </c:pt>
                <c:pt idx="11">
                  <c:v>0.7791923361489015</c:v>
                </c:pt>
                <c:pt idx="12">
                  <c:v>0.7821423383379609</c:v>
                </c:pt>
                <c:pt idx="13">
                  <c:v>0.7850145553671242</c:v>
                </c:pt>
                <c:pt idx="14">
                  <c:v>0.7878120237423081</c:v>
                </c:pt>
                <c:pt idx="15">
                  <c:v>0.7905376239511416</c:v>
                </c:pt>
                <c:pt idx="16">
                  <c:v>0.7931940903563268</c:v>
                </c:pt>
                <c:pt idx="17">
                  <c:v>0.7957840203456027</c:v>
                </c:pt>
                <c:pt idx="18">
                  <c:v>0.7983098828026762</c:v>
                </c:pt>
                <c:pt idx="19">
                  <c:v>0.8007740259571946</c:v>
                </c:pt>
                <c:pt idx="20">
                  <c:v>0.8031786846662206</c:v>
                </c:pt>
                <c:pt idx="21">
                  <c:v>0.8055259871746735</c:v>
                </c:pt>
                <c:pt idx="22">
                  <c:v>0.8078179613977179</c:v>
                </c:pt>
                <c:pt idx="23">
                  <c:v>0.8100565407640812</c:v>
                </c:pt>
                <c:pt idx="24">
                  <c:v>0.8122435696556866</c:v>
                </c:pt>
                <c:pt idx="25">
                  <c:v>0.8143808084757698</c:v>
                </c:pt>
                <c:pt idx="26">
                  <c:v>0.8164699383747482</c:v>
                </c:pt>
                <c:pt idx="27">
                  <c:v>0.818512565660505</c:v>
                </c:pt>
                <c:pt idx="28">
                  <c:v>0.8205102259174064</c:v>
                </c:pt>
                <c:pt idx="29">
                  <c:v>0.822464387856248</c:v>
                </c:pt>
                <c:pt idx="30">
                  <c:v>0.824376456915416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0"/>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1</c:f>
              <c:strCache>
                <c:ptCount val="10"/>
                <c:pt idx="0">
                  <c:v>4</c:v>
                </c:pt>
                <c:pt idx="1">
                  <c:v>5</c:v>
                </c:pt>
                <c:pt idx="2">
                  <c:v>5</c:v>
                </c:pt>
                <c:pt idx="3">
                  <c:v>5</c:v>
                </c:pt>
                <c:pt idx="4">
                  <c:v>5</c:v>
                </c:pt>
                <c:pt idx="5">
                  <c:v>5</c:v>
                </c:pt>
                <c:pt idx="6">
                  <c:v>6</c:v>
                </c:pt>
                <c:pt idx="7">
                  <c:v>6</c:v>
                </c:pt>
                <c:pt idx="8">
                  <c:v>6</c:v>
                </c:pt>
                <c:pt idx="9">
                  <c:v>6</c:v>
                </c:pt>
              </c:strCache>
            </c:strRef>
          </c:cat>
          <c:val>
            <c:numRef>
              <c:f>Sheet1!$B$2:$B$11</c:f>
              <c:numCache>
                <c:formatCode>General</c:formatCode>
                <c:ptCount val="10"/>
                <c:pt idx="0">
                  <c:v>108.980188626762</c:v>
                </c:pt>
                <c:pt idx="1">
                  <c:v>105.92755332828301</c:v>
                </c:pt>
                <c:pt idx="2">
                  <c:v>102.93398001085772</c:v>
                </c:pt>
                <c:pt idx="3">
                  <c:v>100.0</c:v>
                </c:pt>
                <c:pt idx="4">
                  <c:v>91.87050158979238</c:v>
                </c:pt>
                <c:pt idx="5">
                  <c:v>84.25812722222429</c:v>
                </c:pt>
                <c:pt idx="6">
                  <c:v>77.18426756075178</c:v>
                </c:pt>
                <c:pt idx="7">
                  <c:v>70.65572049337334</c:v>
                </c:pt>
                <c:pt idx="8">
                  <c:v>64.66648325196593</c:v>
                </c:pt>
                <c:pt idx="9">
                  <c:v>59.20002844829138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1</c:f>
              <c:strCache>
                <c:ptCount val="10"/>
                <c:pt idx="0">
                  <c:v>4</c:v>
                </c:pt>
                <c:pt idx="1">
                  <c:v>5</c:v>
                </c:pt>
                <c:pt idx="2">
                  <c:v>5</c:v>
                </c:pt>
                <c:pt idx="3">
                  <c:v>5</c:v>
                </c:pt>
                <c:pt idx="4">
                  <c:v>5</c:v>
                </c:pt>
                <c:pt idx="5">
                  <c:v>5</c:v>
                </c:pt>
                <c:pt idx="6">
                  <c:v>6</c:v>
                </c:pt>
                <c:pt idx="7">
                  <c:v>6</c:v>
                </c:pt>
                <c:pt idx="8">
                  <c:v>6</c:v>
                </c:pt>
                <c:pt idx="9">
                  <c:v>6</c:v>
                </c:pt>
              </c:strCache>
            </c:strRef>
          </c:cat>
          <c:val>
            <c:numRef>
              <c:f>Sheet1!$C$2:$C$11</c:f>
              <c:numCache>
                <c:formatCode>General</c:formatCode>
                <c:ptCount val="10"/>
                <c:pt idx="0">
                  <c:v>95.84979009326699</c:v>
                </c:pt>
                <c:pt idx="1">
                  <c:v>97.41963134269517</c:v>
                </c:pt>
                <c:pt idx="2">
                  <c:v>98.80046089407428</c:v>
                </c:pt>
                <c:pt idx="3">
                  <c:v>100.0</c:v>
                </c:pt>
                <c:pt idx="4">
                  <c:v>95.5498827417664</c:v>
                </c:pt>
                <c:pt idx="5">
                  <c:v>91.00722887150056</c:v>
                </c:pt>
                <c:pt idx="6">
                  <c:v>86.45823761400781</c:v>
                </c:pt>
                <c:pt idx="7">
                  <c:v>81.97553974023795</c:v>
                </c:pt>
                <c:pt idx="8">
                  <c:v>77.61744621032184</c:v>
                </c:pt>
                <c:pt idx="9">
                  <c:v>73.4282251030802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1</c:f>
              <c:strCache>
                <c:ptCount val="10"/>
                <c:pt idx="0">
                  <c:v>4</c:v>
                </c:pt>
                <c:pt idx="1">
                  <c:v>5</c:v>
                </c:pt>
                <c:pt idx="2">
                  <c:v>5</c:v>
                </c:pt>
                <c:pt idx="3">
                  <c:v>5</c:v>
                </c:pt>
                <c:pt idx="4">
                  <c:v>5</c:v>
                </c:pt>
                <c:pt idx="5">
                  <c:v>5</c:v>
                </c:pt>
                <c:pt idx="6">
                  <c:v>6</c:v>
                </c:pt>
                <c:pt idx="7">
                  <c:v>6</c:v>
                </c:pt>
                <c:pt idx="8">
                  <c:v>6</c:v>
                </c:pt>
                <c:pt idx="9">
                  <c:v>6</c:v>
                </c:pt>
              </c:strCache>
            </c:strRef>
          </c:cat>
          <c:val>
            <c:numRef>
              <c:f>Sheet1!$D$2:$D$11</c:f>
              <c:numCache>
                <c:formatCode>General</c:formatCode>
                <c:ptCount val="10"/>
                <c:pt idx="0">
                  <c:v>88.9262705443863</c:v>
                </c:pt>
                <c:pt idx="1">
                  <c:v>92.9336577169098</c:v>
                </c:pt>
                <c:pt idx="2">
                  <c:v>96.62106507136875</c:v>
                </c:pt>
                <c:pt idx="3">
                  <c:v>100.0</c:v>
                </c:pt>
                <c:pt idx="4">
                  <c:v>97.4904005928462</c:v>
                </c:pt>
                <c:pt idx="5">
                  <c:v>94.56566018806869</c:v>
                </c:pt>
                <c:pt idx="6">
                  <c:v>91.34648114818017</c:v>
                </c:pt>
                <c:pt idx="7">
                  <c:v>87.94049081281639</c:v>
                </c:pt>
                <c:pt idx="8">
                  <c:v>84.4401433778678</c:v>
                </c:pt>
                <c:pt idx="9">
                  <c:v>80.9219429481921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1</c:f>
              <c:strCache>
                <c:ptCount val="10"/>
                <c:pt idx="0">
                  <c:v>4</c:v>
                </c:pt>
                <c:pt idx="1">
                  <c:v>5</c:v>
                </c:pt>
                <c:pt idx="2">
                  <c:v>5</c:v>
                </c:pt>
                <c:pt idx="3">
                  <c:v>5</c:v>
                </c:pt>
                <c:pt idx="4">
                  <c:v>5</c:v>
                </c:pt>
                <c:pt idx="5">
                  <c:v>5</c:v>
                </c:pt>
                <c:pt idx="6">
                  <c:v>6</c:v>
                </c:pt>
                <c:pt idx="7">
                  <c:v>6</c:v>
                </c:pt>
                <c:pt idx="8">
                  <c:v>6</c:v>
                </c:pt>
                <c:pt idx="9">
                  <c:v>6</c:v>
                </c:pt>
              </c:strCache>
            </c:strRef>
          </c:cat>
          <c:val>
            <c:numRef>
              <c:f>Sheet1!$E$2:$E$11</c:f>
              <c:numCache>
                <c:formatCode>General</c:formatCode>
                <c:ptCount val="10"/>
                <c:pt idx="0">
                  <c:v>0.6080390428468595</c:v>
                </c:pt>
                <c:pt idx="1">
                  <c:v>0.6251926952386819</c:v>
                </c:pt>
                <c:pt idx="2">
                  <c:v>0.6409078862139992</c:v>
                </c:pt>
                <c:pt idx="3">
                  <c:v>0.6553582730866754</c:v>
                </c:pt>
                <c:pt idx="4">
                  <c:v>0.6686906416326452</c:v>
                </c:pt>
                <c:pt idx="5">
                  <c:v>0.6810299101007031</c:v>
                </c:pt>
                <c:pt idx="6">
                  <c:v>0.6924830551599239</c:v>
                </c:pt>
                <c:pt idx="7">
                  <c:v>0.7031422213588867</c:v>
                </c:pt>
                <c:pt idx="8">
                  <c:v>0.7130872055679692</c:v>
                </c:pt>
                <c:pt idx="9">
                  <c:v>0.722387458223788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strCache>
            </c:strRef>
          </c:cat>
          <c:val>
            <c:numRef>
              <c:f>Sheet1!$B$2:$B$19</c:f>
              <c:numCache>
                <c:formatCode>General</c:formatCode>
                <c:ptCount val="18"/>
                <c:pt idx="0">
                  <c:v>105.92371683870047</c:v>
                </c:pt>
                <c:pt idx="1">
                  <c:v>104.76133184186138</c:v>
                </c:pt>
                <c:pt idx="2">
                  <c:v>103.60760169584955</c:v>
                </c:pt>
                <c:pt idx="3">
                  <c:v>102.87155840894077</c:v>
                </c:pt>
                <c:pt idx="4">
                  <c:v>102.14285889773147</c:v>
                </c:pt>
                <c:pt idx="5">
                  <c:v>101.42142096072493</c:v>
                </c:pt>
                <c:pt idx="6">
                  <c:v>100.70716218308311</c:v>
                </c:pt>
                <c:pt idx="7">
                  <c:v>100.0</c:v>
                </c:pt>
                <c:pt idx="8">
                  <c:v>98.40818628751542</c:v>
                </c:pt>
                <c:pt idx="9">
                  <c:v>96.85363972136187</c:v>
                </c:pt>
                <c:pt idx="10">
                  <c:v>95.33539712379034</c:v>
                </c:pt>
                <c:pt idx="11">
                  <c:v>93.85249876726974</c:v>
                </c:pt>
                <c:pt idx="12">
                  <c:v>92.40399078382865</c:v>
                </c:pt>
                <c:pt idx="13">
                  <c:v>90.03950443985757</c:v>
                </c:pt>
                <c:pt idx="14">
                  <c:v>87.7341905131104</c:v>
                </c:pt>
                <c:pt idx="15">
                  <c:v>85.48686102596086</c:v>
                </c:pt>
                <c:pt idx="16">
                  <c:v>83.29630492994163</c:v>
                </c:pt>
                <c:pt idx="17">
                  <c:v>81.1612935286736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strCache>
            </c:strRef>
          </c:cat>
          <c:val>
            <c:numRef>
              <c:f>Sheet1!$C$2:$C$19</c:f>
              <c:numCache>
                <c:formatCode>General</c:formatCode>
                <c:ptCount val="18"/>
                <c:pt idx="0">
                  <c:v>91.06369496971773</c:v>
                </c:pt>
                <c:pt idx="1">
                  <c:v>92.16394486011669</c:v>
                </c:pt>
                <c:pt idx="2">
                  <c:v>93.22532737864499</c:v>
                </c:pt>
                <c:pt idx="3">
                  <c:v>94.62486327130473</c:v>
                </c:pt>
                <c:pt idx="4">
                  <c:v>96.00173665953125</c:v>
                </c:pt>
                <c:pt idx="5">
                  <c:v>97.35631280381406</c:v>
                </c:pt>
                <c:pt idx="6">
                  <c:v>98.6889500751518</c:v>
                </c:pt>
                <c:pt idx="7">
                  <c:v>100.0</c:v>
                </c:pt>
                <c:pt idx="8">
                  <c:v>100.37975414144572</c:v>
                </c:pt>
                <c:pt idx="9">
                  <c:v>100.73446068820442</c:v>
                </c:pt>
                <c:pt idx="10">
                  <c:v>101.06534143253809</c:v>
                </c:pt>
                <c:pt idx="11">
                  <c:v>101.37354443064265</c:v>
                </c:pt>
                <c:pt idx="12">
                  <c:v>101.66014702313913</c:v>
                </c:pt>
                <c:pt idx="13">
                  <c:v>100.86213244617656</c:v>
                </c:pt>
                <c:pt idx="14">
                  <c:v>100.03688595152546</c:v>
                </c:pt>
                <c:pt idx="15">
                  <c:v>99.18658568498152</c:v>
                </c:pt>
                <c:pt idx="16">
                  <c:v>98.31328706741216</c:v>
                </c:pt>
                <c:pt idx="17">
                  <c:v>97.4189270350662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strCache>
            </c:strRef>
          </c:cat>
          <c:val>
            <c:numRef>
              <c:f>Sheet1!$D$2:$D$19</c:f>
              <c:numCache>
                <c:formatCode>General</c:formatCode>
                <c:ptCount val="18"/>
                <c:pt idx="0">
                  <c:v>83.27052215509063</c:v>
                </c:pt>
                <c:pt idx="1">
                  <c:v>85.55723645704217</c:v>
                </c:pt>
                <c:pt idx="2">
                  <c:v>87.78016911877428</c:v>
                </c:pt>
                <c:pt idx="3">
                  <c:v>90.29967227482433</c:v>
                </c:pt>
                <c:pt idx="4">
                  <c:v>92.78081414490222</c:v>
                </c:pt>
                <c:pt idx="5">
                  <c:v>95.2241926788447</c:v>
                </c:pt>
                <c:pt idx="6">
                  <c:v>97.63039551248282</c:v>
                </c:pt>
                <c:pt idx="7">
                  <c:v>100.0</c:v>
                </c:pt>
                <c:pt idx="8">
                  <c:v>101.4134120291946</c:v>
                </c:pt>
                <c:pt idx="9">
                  <c:v>102.76906707242541</c:v>
                </c:pt>
                <c:pt idx="10">
                  <c:v>104.06933471775402</c:v>
                </c:pt>
                <c:pt idx="11">
                  <c:v>105.31647025642235</c:v>
                </c:pt>
                <c:pt idx="12">
                  <c:v>106.51261802156222</c:v>
                </c:pt>
                <c:pt idx="13">
                  <c:v>106.5350368856689</c:v>
                </c:pt>
                <c:pt idx="14">
                  <c:v>106.4848624085429</c:v>
                </c:pt>
                <c:pt idx="15">
                  <c:v>106.36604558500305</c:v>
                </c:pt>
                <c:pt idx="16">
                  <c:v>106.182361951444</c:v>
                </c:pt>
                <c:pt idx="17">
                  <c:v>105.937415216553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9</c:v>
                </c:pt>
                <c:pt idx="1">
                  <c:v>9</c:v>
                </c:pt>
                <c:pt idx="2">
                  <c:v>9</c:v>
                </c:pt>
                <c:pt idx="3">
                  <c:v>9</c:v>
                </c:pt>
                <c:pt idx="4">
                  <c:v>9</c:v>
                </c:pt>
                <c:pt idx="5">
                  <c:v>10</c:v>
                </c:pt>
                <c:pt idx="6">
                  <c:v>10</c:v>
                </c:pt>
                <c:pt idx="7">
                  <c:v>10</c:v>
                </c:pt>
                <c:pt idx="8">
                  <c:v>10</c:v>
                </c:pt>
                <c:pt idx="9">
                  <c:v>10</c:v>
                </c:pt>
                <c:pt idx="10">
                  <c:v>11</c:v>
                </c:pt>
                <c:pt idx="11">
                  <c:v>11</c:v>
                </c:pt>
                <c:pt idx="12">
                  <c:v>11</c:v>
                </c:pt>
                <c:pt idx="13">
                  <c:v>11</c:v>
                </c:pt>
                <c:pt idx="14">
                  <c:v>11</c:v>
                </c:pt>
                <c:pt idx="15">
                  <c:v>12</c:v>
                </c:pt>
                <c:pt idx="16">
                  <c:v>12</c:v>
                </c:pt>
                <c:pt idx="17">
                  <c:v>12</c:v>
                </c:pt>
              </c:strCache>
            </c:strRef>
          </c:cat>
          <c:val>
            <c:numRef>
              <c:f>Sheet1!$E$2:$E$19</c:f>
              <c:numCache>
                <c:formatCode>General</c:formatCode>
                <c:ptCount val="18"/>
                <c:pt idx="0">
                  <c:v>0.6002638546652921</c:v>
                </c:pt>
                <c:pt idx="1">
                  <c:v>0.6093798442966422</c:v>
                </c:pt>
                <c:pt idx="2">
                  <c:v>0.6180893237995041</c:v>
                </c:pt>
                <c:pt idx="3">
                  <c:v>0.6264188914374649</c:v>
                </c:pt>
                <c:pt idx="4">
                  <c:v>0.6343928745444561</c:v>
                </c:pt>
                <c:pt idx="5">
                  <c:v>0.6420335668214789</c:v>
                </c:pt>
                <c:pt idx="6">
                  <c:v>0.6493614364873647</c:v>
                </c:pt>
                <c:pt idx="7">
                  <c:v>0.6563953093762842</c:v>
                </c:pt>
                <c:pt idx="8">
                  <c:v>0.6631525304308312</c:v>
                </c:pt>
                <c:pt idx="9">
                  <c:v>0.6696491065073822</c:v>
                </c:pt>
                <c:pt idx="10">
                  <c:v>0.6758998329689263</c:v>
                </c:pt>
                <c:pt idx="11">
                  <c:v>0.681918406172846</c:v>
                </c:pt>
                <c:pt idx="12">
                  <c:v>0.6877175236537423</c:v>
                </c:pt>
                <c:pt idx="13">
                  <c:v>0.6933089735435589</c:v>
                </c:pt>
                <c:pt idx="14">
                  <c:v>0.6987037145542264</c:v>
                </c:pt>
                <c:pt idx="15">
                  <c:v>0.7039119476647842</c:v>
                </c:pt>
                <c:pt idx="16">
                  <c:v>0.7089431804997072</c:v>
                </c:pt>
                <c:pt idx="17">
                  <c:v>0.713806285253262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8</c:f>
              <c:strCache>
                <c:ptCount val="17"/>
                <c:pt idx="0">
                  <c:v>7</c:v>
                </c:pt>
                <c:pt idx="1">
                  <c:v>7</c:v>
                </c:pt>
                <c:pt idx="2">
                  <c:v>7</c:v>
                </c:pt>
                <c:pt idx="3">
                  <c:v>7</c:v>
                </c:pt>
                <c:pt idx="4">
                  <c:v>8</c:v>
                </c:pt>
                <c:pt idx="5">
                  <c:v>8</c:v>
                </c:pt>
                <c:pt idx="6">
                  <c:v>8</c:v>
                </c:pt>
                <c:pt idx="7">
                  <c:v>8</c:v>
                </c:pt>
                <c:pt idx="8">
                  <c:v>8</c:v>
                </c:pt>
                <c:pt idx="9">
                  <c:v>9</c:v>
                </c:pt>
                <c:pt idx="10">
                  <c:v>9</c:v>
                </c:pt>
                <c:pt idx="11">
                  <c:v>9</c:v>
                </c:pt>
                <c:pt idx="12">
                  <c:v>9</c:v>
                </c:pt>
                <c:pt idx="13">
                  <c:v>9</c:v>
                </c:pt>
                <c:pt idx="14">
                  <c:v>10</c:v>
                </c:pt>
                <c:pt idx="15">
                  <c:v>10</c:v>
                </c:pt>
                <c:pt idx="16">
                  <c:v>10</c:v>
                </c:pt>
              </c:strCache>
            </c:strRef>
          </c:cat>
          <c:val>
            <c:numRef>
              <c:f>Sheet1!$B$2:$B$18</c:f>
              <c:numCache>
                <c:formatCode>General</c:formatCode>
                <c:ptCount val="17"/>
                <c:pt idx="0">
                  <c:v>121.57281169575201</c:v>
                </c:pt>
                <c:pt idx="1">
                  <c:v>116.35211910260368</c:v>
                </c:pt>
                <c:pt idx="2">
                  <c:v>111.37019497650995</c:v>
                </c:pt>
                <c:pt idx="3">
                  <c:v>106.6161024724168</c:v>
                </c:pt>
                <c:pt idx="4">
                  <c:v>102.07933143853143</c:v>
                </c:pt>
                <c:pt idx="5">
                  <c:v>101.03331327533044</c:v>
                </c:pt>
                <c:pt idx="6">
                  <c:v>100.0</c:v>
                </c:pt>
                <c:pt idx="7">
                  <c:v>98.9791720348116</c:v>
                </c:pt>
                <c:pt idx="8">
                  <c:v>97.97061463327756</c:v>
                </c:pt>
                <c:pt idx="9">
                  <c:v>96.97411779130853</c:v>
                </c:pt>
                <c:pt idx="10">
                  <c:v>95.98947615752984</c:v>
                </c:pt>
                <c:pt idx="11">
                  <c:v>95.01648894307755</c:v>
                </c:pt>
                <c:pt idx="12">
                  <c:v>94.30335776716426</c:v>
                </c:pt>
                <c:pt idx="13">
                  <c:v>93.59463008739193</c:v>
                </c:pt>
                <c:pt idx="14">
                  <c:v>92.89028923717217</c:v>
                </c:pt>
                <c:pt idx="15">
                  <c:v>92.19031864886726</c:v>
                </c:pt>
                <c:pt idx="16">
                  <c:v>91.4947018519158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8</c:f>
              <c:strCache>
                <c:ptCount val="17"/>
                <c:pt idx="0">
                  <c:v>7</c:v>
                </c:pt>
                <c:pt idx="1">
                  <c:v>7</c:v>
                </c:pt>
                <c:pt idx="2">
                  <c:v>7</c:v>
                </c:pt>
                <c:pt idx="3">
                  <c:v>7</c:v>
                </c:pt>
                <c:pt idx="4">
                  <c:v>8</c:v>
                </c:pt>
                <c:pt idx="5">
                  <c:v>8</c:v>
                </c:pt>
                <c:pt idx="6">
                  <c:v>8</c:v>
                </c:pt>
                <c:pt idx="7">
                  <c:v>8</c:v>
                </c:pt>
                <c:pt idx="8">
                  <c:v>8</c:v>
                </c:pt>
                <c:pt idx="9">
                  <c:v>9</c:v>
                </c:pt>
                <c:pt idx="10">
                  <c:v>9</c:v>
                </c:pt>
                <c:pt idx="11">
                  <c:v>9</c:v>
                </c:pt>
                <c:pt idx="12">
                  <c:v>9</c:v>
                </c:pt>
                <c:pt idx="13">
                  <c:v>9</c:v>
                </c:pt>
                <c:pt idx="14">
                  <c:v>10</c:v>
                </c:pt>
                <c:pt idx="15">
                  <c:v>10</c:v>
                </c:pt>
                <c:pt idx="16">
                  <c:v>10</c:v>
                </c:pt>
              </c:strCache>
            </c:strRef>
          </c:cat>
          <c:val>
            <c:numRef>
              <c:f>Sheet1!$C$2:$C$18</c:f>
              <c:numCache>
                <c:formatCode>General</c:formatCode>
                <c:ptCount val="17"/>
                <c:pt idx="0">
                  <c:v>103.70737988429242</c:v>
                </c:pt>
                <c:pt idx="1">
                  <c:v>102.08947197463903</c:v>
                </c:pt>
                <c:pt idx="2">
                  <c:v>100.43302227061336</c:v>
                </c:pt>
                <c:pt idx="3">
                  <c:v>98.7453971309252</c:v>
                </c:pt>
                <c:pt idx="4">
                  <c:v>97.03327367301394</c:v>
                </c:pt>
                <c:pt idx="5">
                  <c:v>98.5367677854241</c:v>
                </c:pt>
                <c:pt idx="6">
                  <c:v>100.0</c:v>
                </c:pt>
                <c:pt idx="7">
                  <c:v>101.42376755569411</c:v>
                </c:pt>
                <c:pt idx="8">
                  <c:v>102.80884732640412</c:v>
                </c:pt>
                <c:pt idx="9">
                  <c:v>104.15599649134188</c:v>
                </c:pt>
                <c:pt idx="10">
                  <c:v>105.46595318317583</c:v>
                </c:pt>
                <c:pt idx="11">
                  <c:v>106.73943711456883</c:v>
                </c:pt>
                <c:pt idx="12">
                  <c:v>108.26468869838514</c:v>
                </c:pt>
                <c:pt idx="13">
                  <c:v>109.75888380605221</c:v>
                </c:pt>
                <c:pt idx="14">
                  <c:v>111.22237877442286</c:v>
                </c:pt>
                <c:pt idx="15">
                  <c:v>112.65552691849567</c:v>
                </c:pt>
                <c:pt idx="16">
                  <c:v>114.058678574890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8</c:f>
              <c:strCache>
                <c:ptCount val="17"/>
                <c:pt idx="0">
                  <c:v>7</c:v>
                </c:pt>
                <c:pt idx="1">
                  <c:v>7</c:v>
                </c:pt>
                <c:pt idx="2">
                  <c:v>7</c:v>
                </c:pt>
                <c:pt idx="3">
                  <c:v>7</c:v>
                </c:pt>
                <c:pt idx="4">
                  <c:v>8</c:v>
                </c:pt>
                <c:pt idx="5">
                  <c:v>8</c:v>
                </c:pt>
                <c:pt idx="6">
                  <c:v>8</c:v>
                </c:pt>
                <c:pt idx="7">
                  <c:v>8</c:v>
                </c:pt>
                <c:pt idx="8">
                  <c:v>8</c:v>
                </c:pt>
                <c:pt idx="9">
                  <c:v>9</c:v>
                </c:pt>
                <c:pt idx="10">
                  <c:v>9</c:v>
                </c:pt>
                <c:pt idx="11">
                  <c:v>9</c:v>
                </c:pt>
                <c:pt idx="12">
                  <c:v>9</c:v>
                </c:pt>
                <c:pt idx="13">
                  <c:v>9</c:v>
                </c:pt>
                <c:pt idx="14">
                  <c:v>10</c:v>
                </c:pt>
                <c:pt idx="15">
                  <c:v>10</c:v>
                </c:pt>
                <c:pt idx="16">
                  <c:v>10</c:v>
                </c:pt>
              </c:strCache>
            </c:strRef>
          </c:cat>
          <c:val>
            <c:numRef>
              <c:f>Sheet1!$D$2:$D$18</c:f>
              <c:numCache>
                <c:formatCode>General</c:formatCode>
                <c:ptCount val="17"/>
                <c:pt idx="0">
                  <c:v>96.14570984694559</c:v>
                </c:pt>
                <c:pt idx="1">
                  <c:v>96.0642732071013</c:v>
                </c:pt>
                <c:pt idx="2">
                  <c:v>95.82337959662928</c:v>
                </c:pt>
                <c:pt idx="3">
                  <c:v>95.43853878322645</c:v>
                </c:pt>
                <c:pt idx="4">
                  <c:v>94.92407401447036</c:v>
                </c:pt>
                <c:pt idx="5">
                  <c:v>97.49266566511264</c:v>
                </c:pt>
                <c:pt idx="6">
                  <c:v>100.0</c:v>
                </c:pt>
                <c:pt idx="7">
                  <c:v>102.44721830899957</c:v>
                </c:pt>
                <c:pt idx="8">
                  <c:v>104.83543490597557</c:v>
                </c:pt>
                <c:pt idx="9">
                  <c:v>107.16573793657234</c:v>
                </c:pt>
                <c:pt idx="10">
                  <c:v>109.43919016364956</c:v>
                </c:pt>
                <c:pt idx="11">
                  <c:v>111.65682973066262</c:v>
                </c:pt>
                <c:pt idx="12">
                  <c:v>114.12340923841838</c:v>
                </c:pt>
                <c:pt idx="13">
                  <c:v>116.54506161025108</c:v>
                </c:pt>
                <c:pt idx="14">
                  <c:v>118.92224294535116</c:v>
                </c:pt>
                <c:pt idx="15">
                  <c:v>121.25540683508483</c:v>
                </c:pt>
                <c:pt idx="16">
                  <c:v>123.5450043826145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8</c:f>
              <c:strCache>
                <c:ptCount val="17"/>
                <c:pt idx="0">
                  <c:v>7</c:v>
                </c:pt>
                <c:pt idx="1">
                  <c:v>7</c:v>
                </c:pt>
                <c:pt idx="2">
                  <c:v>7</c:v>
                </c:pt>
                <c:pt idx="3">
                  <c:v>7</c:v>
                </c:pt>
                <c:pt idx="4">
                  <c:v>8</c:v>
                </c:pt>
                <c:pt idx="5">
                  <c:v>8</c:v>
                </c:pt>
                <c:pt idx="6">
                  <c:v>8</c:v>
                </c:pt>
                <c:pt idx="7">
                  <c:v>8</c:v>
                </c:pt>
                <c:pt idx="8">
                  <c:v>8</c:v>
                </c:pt>
                <c:pt idx="9">
                  <c:v>9</c:v>
                </c:pt>
                <c:pt idx="10">
                  <c:v>9</c:v>
                </c:pt>
                <c:pt idx="11">
                  <c:v>9</c:v>
                </c:pt>
                <c:pt idx="12">
                  <c:v>9</c:v>
                </c:pt>
                <c:pt idx="13">
                  <c:v>9</c:v>
                </c:pt>
                <c:pt idx="14">
                  <c:v>10</c:v>
                </c:pt>
                <c:pt idx="15">
                  <c:v>10</c:v>
                </c:pt>
                <c:pt idx="16">
                  <c:v>10</c:v>
                </c:pt>
              </c:strCache>
            </c:strRef>
          </c:cat>
          <c:val>
            <c:numRef>
              <c:f>Sheet1!$E$2:$E$18</c:f>
              <c:numCache>
                <c:formatCode>General</c:formatCode>
                <c:ptCount val="17"/>
                <c:pt idx="0">
                  <c:v>0.6631671519098048</c:v>
                </c:pt>
                <c:pt idx="1">
                  <c:v>0.672832369932479</c:v>
                </c:pt>
                <c:pt idx="2">
                  <c:v>0.6819583847181838</c:v>
                </c:pt>
                <c:pt idx="3">
                  <c:v>0.690589093409685</c:v>
                </c:pt>
                <c:pt idx="4">
                  <c:v>0.6987637540857832</c:v>
                </c:pt>
                <c:pt idx="5">
                  <c:v>0.7065175828094439</c:v>
                </c:pt>
                <c:pt idx="6">
                  <c:v>0.7138822607816032</c:v>
                </c:pt>
                <c:pt idx="7">
                  <c:v>0.7208863670048199</c:v>
                </c:pt>
                <c:pt idx="8">
                  <c:v>0.7275557489162937</c:v>
                </c:pt>
                <c:pt idx="9">
                  <c:v>0.7339138411236147</c:v>
                </c:pt>
                <c:pt idx="10">
                  <c:v>0.7399819405278653</c:v>
                </c:pt>
                <c:pt idx="11">
                  <c:v>0.7457794446409564</c:v>
                </c:pt>
                <c:pt idx="12">
                  <c:v>0.7513240587163991</c:v>
                </c:pt>
                <c:pt idx="13">
                  <c:v>0.7566319763531887</c:v>
                </c:pt>
                <c:pt idx="14">
                  <c:v>0.7617180374534356</c:v>
                </c:pt>
                <c:pt idx="15">
                  <c:v>0.7665958667788515</c:v>
                </c:pt>
                <c:pt idx="16">
                  <c:v>0.77127799583042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8</c:v>
                </c:pt>
                <c:pt idx="1">
                  <c:v>8</c:v>
                </c:pt>
                <c:pt idx="2">
                  <c:v>8</c:v>
                </c:pt>
                <c:pt idx="3">
                  <c:v>8</c:v>
                </c:pt>
                <c:pt idx="4">
                  <c:v>8</c:v>
                </c:pt>
                <c:pt idx="5">
                  <c:v>9</c:v>
                </c:pt>
                <c:pt idx="6">
                  <c:v>9</c:v>
                </c:pt>
                <c:pt idx="7">
                  <c:v>9</c:v>
                </c:pt>
                <c:pt idx="8">
                  <c:v>9</c:v>
                </c:pt>
                <c:pt idx="9">
                  <c:v>9</c:v>
                </c:pt>
                <c:pt idx="10">
                  <c:v>10</c:v>
                </c:pt>
                <c:pt idx="11">
                  <c:v>10</c:v>
                </c:pt>
                <c:pt idx="12">
                  <c:v>10</c:v>
                </c:pt>
                <c:pt idx="13">
                  <c:v>10</c:v>
                </c:pt>
                <c:pt idx="14">
                  <c:v>10</c:v>
                </c:pt>
                <c:pt idx="15">
                  <c:v>11</c:v>
                </c:pt>
                <c:pt idx="16">
                  <c:v>11</c:v>
                </c:pt>
                <c:pt idx="17">
                  <c:v>11</c:v>
                </c:pt>
              </c:strCache>
            </c:strRef>
          </c:cat>
          <c:val>
            <c:numRef>
              <c:f>Sheet1!$B$2:$B$19</c:f>
              <c:numCache>
                <c:formatCode>General</c:formatCode>
                <c:ptCount val="18"/>
                <c:pt idx="0">
                  <c:v>106.75949760723542</c:v>
                </c:pt>
                <c:pt idx="1">
                  <c:v>105.75524861620033</c:v>
                </c:pt>
                <c:pt idx="2">
                  <c:v>104.76423253086922</c:v>
                </c:pt>
                <c:pt idx="3">
                  <c:v>103.78622779720712</c:v>
                </c:pt>
                <c:pt idx="4">
                  <c:v>102.82101596350954</c:v>
                </c:pt>
                <c:pt idx="5">
                  <c:v>101.8683816864924</c:v>
                </c:pt>
                <c:pt idx="6">
                  <c:v>100.92811273625107</c:v>
                </c:pt>
                <c:pt idx="7">
                  <c:v>100.0</c:v>
                </c:pt>
                <c:pt idx="8">
                  <c:v>99.33305311676052</c:v>
                </c:pt>
                <c:pt idx="9">
                  <c:v>98.67123701503748</c:v>
                </c:pt>
                <c:pt idx="10">
                  <c:v>98.01451144945894</c:v>
                </c:pt>
                <c:pt idx="11">
                  <c:v>97.36283642669135</c:v>
                </c:pt>
                <c:pt idx="12">
                  <c:v>96.71617220503249</c:v>
                </c:pt>
                <c:pt idx="13">
                  <c:v>95.40151999034036</c:v>
                </c:pt>
                <c:pt idx="14">
                  <c:v>94.11362423597713</c:v>
                </c:pt>
                <c:pt idx="15">
                  <c:v>92.8517809187113</c:v>
                </c:pt>
                <c:pt idx="16">
                  <c:v>91.61530613323269</c:v>
                </c:pt>
                <c:pt idx="17">
                  <c:v>90.4035355827125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8</c:v>
                </c:pt>
                <c:pt idx="1">
                  <c:v>8</c:v>
                </c:pt>
                <c:pt idx="2">
                  <c:v>8</c:v>
                </c:pt>
                <c:pt idx="3">
                  <c:v>8</c:v>
                </c:pt>
                <c:pt idx="4">
                  <c:v>8</c:v>
                </c:pt>
                <c:pt idx="5">
                  <c:v>9</c:v>
                </c:pt>
                <c:pt idx="6">
                  <c:v>9</c:v>
                </c:pt>
                <c:pt idx="7">
                  <c:v>9</c:v>
                </c:pt>
                <c:pt idx="8">
                  <c:v>9</c:v>
                </c:pt>
                <c:pt idx="9">
                  <c:v>9</c:v>
                </c:pt>
                <c:pt idx="10">
                  <c:v>10</c:v>
                </c:pt>
                <c:pt idx="11">
                  <c:v>10</c:v>
                </c:pt>
                <c:pt idx="12">
                  <c:v>10</c:v>
                </c:pt>
                <c:pt idx="13">
                  <c:v>10</c:v>
                </c:pt>
                <c:pt idx="14">
                  <c:v>10</c:v>
                </c:pt>
                <c:pt idx="15">
                  <c:v>11</c:v>
                </c:pt>
                <c:pt idx="16">
                  <c:v>11</c:v>
                </c:pt>
                <c:pt idx="17">
                  <c:v>11</c:v>
                </c:pt>
              </c:strCache>
            </c:strRef>
          </c:cat>
          <c:val>
            <c:numRef>
              <c:f>Sheet1!$C$2:$C$19</c:f>
              <c:numCache>
                <c:formatCode>General</c:formatCode>
                <c:ptCount val="18"/>
                <c:pt idx="0">
                  <c:v>90.69214868852222</c:v>
                </c:pt>
                <c:pt idx="1">
                  <c:v>92.12112949413287</c:v>
                </c:pt>
                <c:pt idx="2">
                  <c:v>93.51567724712973</c:v>
                </c:pt>
                <c:pt idx="3">
                  <c:v>94.87661834540812</c:v>
                </c:pt>
                <c:pt idx="4">
                  <c:v>96.20475462817329</c:v>
                </c:pt>
                <c:pt idx="5">
                  <c:v>97.5008641158737</c:v>
                </c:pt>
                <c:pt idx="6">
                  <c:v>98.7657017309513</c:v>
                </c:pt>
                <c:pt idx="7">
                  <c:v>100.0</c:v>
                </c:pt>
                <c:pt idx="8">
                  <c:v>101.4667382763734</c:v>
                </c:pt>
                <c:pt idx="9">
                  <c:v>102.90778140002979</c:v>
                </c:pt>
                <c:pt idx="10">
                  <c:v>104.3235200573834</c:v>
                </c:pt>
                <c:pt idx="11">
                  <c:v>105.7143384755039</c:v>
                </c:pt>
                <c:pt idx="12">
                  <c:v>107.08061454407924</c:v>
                </c:pt>
                <c:pt idx="13">
                  <c:v>107.64391816509347</c:v>
                </c:pt>
                <c:pt idx="14">
                  <c:v>108.1811350058386</c:v>
                </c:pt>
                <c:pt idx="15">
                  <c:v>108.69325314886258</c:v>
                </c:pt>
                <c:pt idx="16">
                  <c:v>109.1812165070765</c:v>
                </c:pt>
                <c:pt idx="17">
                  <c:v>109.6459269660687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8</c:v>
                </c:pt>
                <c:pt idx="1">
                  <c:v>8</c:v>
                </c:pt>
                <c:pt idx="2">
                  <c:v>8</c:v>
                </c:pt>
                <c:pt idx="3">
                  <c:v>8</c:v>
                </c:pt>
                <c:pt idx="4">
                  <c:v>8</c:v>
                </c:pt>
                <c:pt idx="5">
                  <c:v>9</c:v>
                </c:pt>
                <c:pt idx="6">
                  <c:v>9</c:v>
                </c:pt>
                <c:pt idx="7">
                  <c:v>9</c:v>
                </c:pt>
                <c:pt idx="8">
                  <c:v>9</c:v>
                </c:pt>
                <c:pt idx="9">
                  <c:v>9</c:v>
                </c:pt>
                <c:pt idx="10">
                  <c:v>10</c:v>
                </c:pt>
                <c:pt idx="11">
                  <c:v>10</c:v>
                </c:pt>
                <c:pt idx="12">
                  <c:v>10</c:v>
                </c:pt>
                <c:pt idx="13">
                  <c:v>10</c:v>
                </c:pt>
                <c:pt idx="14">
                  <c:v>10</c:v>
                </c:pt>
                <c:pt idx="15">
                  <c:v>11</c:v>
                </c:pt>
                <c:pt idx="16">
                  <c:v>11</c:v>
                </c:pt>
                <c:pt idx="17">
                  <c:v>11</c:v>
                </c:pt>
              </c:strCache>
            </c:strRef>
          </c:cat>
          <c:val>
            <c:numRef>
              <c:f>Sheet1!$D$2:$D$19</c:f>
              <c:numCache>
                <c:formatCode>General</c:formatCode>
                <c:ptCount val="18"/>
                <c:pt idx="0">
                  <c:v>84.20445852216638</c:v>
                </c:pt>
                <c:pt idx="1">
                  <c:v>86.60944431899652</c:v>
                </c:pt>
                <c:pt idx="2">
                  <c:v>88.96315994231732</c:v>
                </c:pt>
                <c:pt idx="3">
                  <c:v>91.2666987923257</c:v>
                </c:pt>
                <c:pt idx="4">
                  <c:v>93.52112662687436</c:v>
                </c:pt>
                <c:pt idx="5">
                  <c:v>95.72748218319197</c:v>
                </c:pt>
                <c:pt idx="6">
                  <c:v>97.88677779430664</c:v>
                </c:pt>
                <c:pt idx="7">
                  <c:v>100.0</c:v>
                </c:pt>
                <c:pt idx="8">
                  <c:v>102.33363750572524</c:v>
                </c:pt>
                <c:pt idx="9">
                  <c:v>104.63124206079965</c:v>
                </c:pt>
                <c:pt idx="10">
                  <c:v>106.89327353886588</c:v>
                </c:pt>
                <c:pt idx="11">
                  <c:v>109.12018627976605</c:v>
                </c:pt>
                <c:pt idx="12">
                  <c:v>111.3124291477862</c:v>
                </c:pt>
                <c:pt idx="13">
                  <c:v>112.64871127126361</c:v>
                </c:pt>
                <c:pt idx="14">
                  <c:v>113.93738001561566</c:v>
                </c:pt>
                <c:pt idx="15">
                  <c:v>115.18007098070949</c:v>
                </c:pt>
                <c:pt idx="16">
                  <c:v>116.37835392650024</c:v>
                </c:pt>
                <c:pt idx="17">
                  <c:v>117.5337355898128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8</c:v>
                </c:pt>
                <c:pt idx="1">
                  <c:v>8</c:v>
                </c:pt>
                <c:pt idx="2">
                  <c:v>8</c:v>
                </c:pt>
                <c:pt idx="3">
                  <c:v>8</c:v>
                </c:pt>
                <c:pt idx="4">
                  <c:v>8</c:v>
                </c:pt>
                <c:pt idx="5">
                  <c:v>9</c:v>
                </c:pt>
                <c:pt idx="6">
                  <c:v>9</c:v>
                </c:pt>
                <c:pt idx="7">
                  <c:v>9</c:v>
                </c:pt>
                <c:pt idx="8">
                  <c:v>9</c:v>
                </c:pt>
                <c:pt idx="9">
                  <c:v>9</c:v>
                </c:pt>
                <c:pt idx="10">
                  <c:v>10</c:v>
                </c:pt>
                <c:pt idx="11">
                  <c:v>10</c:v>
                </c:pt>
                <c:pt idx="12">
                  <c:v>10</c:v>
                </c:pt>
                <c:pt idx="13">
                  <c:v>10</c:v>
                </c:pt>
                <c:pt idx="14">
                  <c:v>10</c:v>
                </c:pt>
                <c:pt idx="15">
                  <c:v>11</c:v>
                </c:pt>
                <c:pt idx="16">
                  <c:v>11</c:v>
                </c:pt>
                <c:pt idx="17">
                  <c:v>11</c:v>
                </c:pt>
              </c:strCache>
            </c:strRef>
          </c:cat>
          <c:val>
            <c:numRef>
              <c:f>Sheet1!$E$2:$E$19</c:f>
              <c:numCache>
                <c:formatCode>General</c:formatCode>
                <c:ptCount val="18"/>
                <c:pt idx="0">
                  <c:v>0.6828862928831775</c:v>
                </c:pt>
                <c:pt idx="1">
                  <c:v>0.6910488078668794</c:v>
                </c:pt>
                <c:pt idx="2">
                  <c:v>0.6988016608689653</c:v>
                </c:pt>
                <c:pt idx="3">
                  <c:v>0.7061749372246822</c:v>
                </c:pt>
                <c:pt idx="4">
                  <c:v>0.7131958467294688</c:v>
                </c:pt>
                <c:pt idx="5">
                  <c:v>0.719889059174522</c:v>
                </c:pt>
                <c:pt idx="6">
                  <c:v>0.7262769939709981</c:v>
                </c:pt>
                <c:pt idx="7">
                  <c:v>0.732380071028501</c:v>
                </c:pt>
                <c:pt idx="8">
                  <c:v>0.7382169288032338</c:v>
                </c:pt>
                <c:pt idx="9">
                  <c:v>0.7438046144210944</c:v>
                </c:pt>
                <c:pt idx="10">
                  <c:v>0.7491587499608834</c:v>
                </c:pt>
                <c:pt idx="11">
                  <c:v>0.7542936783137824</c:v>
                </c:pt>
                <c:pt idx="12">
                  <c:v>0.7592225914870263</c:v>
                </c:pt>
                <c:pt idx="13">
                  <c:v>0.7639576437685008</c:v>
                </c:pt>
                <c:pt idx="14">
                  <c:v>0.7685100517961093</c:v>
                </c:pt>
                <c:pt idx="15">
                  <c:v>0.7728901832663815</c:v>
                </c:pt>
                <c:pt idx="16">
                  <c:v>0.7771076357591136</c:v>
                </c:pt>
                <c:pt idx="17">
                  <c:v>0.781171306939439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Van Der Hagen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arrys (11.2%)</c:v>
                </c:pt>
                <c:pt idx="1">
                  <c:v>Gillette (38.7%)</c:v>
                </c:pt>
                <c:pt idx="2">
                  <c:v>Bic (16.9%)</c:v>
                </c:pt>
                <c:pt idx="3">
                  <c:v>Equate (21.7%)</c:v>
                </c:pt>
                <c:pt idx="4">
                  <c:v>Schick (11.2%)</c:v>
                </c:pt>
                <c:pt idx="5">
                  <c:v>Dollar Shave Club (2.9%)</c:v>
                </c:pt>
              </c:strCache>
            </c:strRef>
          </c:cat>
          <c:val>
            <c:numRef>
              <c:f>Sheet1!$B$2:$B$7</c:f>
              <c:numCache>
                <c:formatCode>General</c:formatCode>
                <c:ptCount val="6"/>
                <c:pt idx="0">
                  <c:v>0.2242853730261065</c:v>
                </c:pt>
                <c:pt idx="1">
                  <c:v>0.20679620643313548</c:v>
                </c:pt>
                <c:pt idx="2">
                  <c:v>0.07032358914234105</c:v>
                </c:pt>
                <c:pt idx="3">
                  <c:v>0.051517108016998145</c:v>
                </c:pt>
                <c:pt idx="4">
                  <c:v>0.04406426144089901</c:v>
                </c:pt>
                <c:pt idx="5">
                  <c:v>0.03307743660871060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4</c:f>
              <c:strCache>
                <c:ptCount val="33"/>
                <c:pt idx="0">
                  <c:v>14</c:v>
                </c:pt>
                <c:pt idx="1">
                  <c:v>14</c:v>
                </c:pt>
                <c:pt idx="2">
                  <c:v>14</c:v>
                </c:pt>
                <c:pt idx="3">
                  <c:v>14</c:v>
                </c:pt>
                <c:pt idx="4">
                  <c:v>14</c:v>
                </c:pt>
                <c:pt idx="5">
                  <c:v>15</c:v>
                </c:pt>
                <c:pt idx="6">
                  <c:v>15</c:v>
                </c:pt>
                <c:pt idx="7">
                  <c:v>15</c:v>
                </c:pt>
                <c:pt idx="8">
                  <c:v>15</c:v>
                </c:pt>
                <c:pt idx="9">
                  <c:v>15</c:v>
                </c:pt>
                <c:pt idx="10">
                  <c:v>16</c:v>
                </c:pt>
                <c:pt idx="11">
                  <c:v>16</c:v>
                </c:pt>
                <c:pt idx="12">
                  <c:v>16</c:v>
                </c:pt>
                <c:pt idx="13">
                  <c:v>16</c:v>
                </c:pt>
                <c:pt idx="14">
                  <c:v>16</c:v>
                </c:pt>
                <c:pt idx="15">
                  <c:v>17</c:v>
                </c:pt>
                <c:pt idx="16">
                  <c:v>17</c:v>
                </c:pt>
                <c:pt idx="17">
                  <c:v>17</c:v>
                </c:pt>
                <c:pt idx="18">
                  <c:v>17</c:v>
                </c:pt>
                <c:pt idx="19">
                  <c:v>17</c:v>
                </c:pt>
                <c:pt idx="20">
                  <c:v>18</c:v>
                </c:pt>
                <c:pt idx="21">
                  <c:v>18</c:v>
                </c:pt>
                <c:pt idx="22">
                  <c:v>18</c:v>
                </c:pt>
                <c:pt idx="23">
                  <c:v>18</c:v>
                </c:pt>
                <c:pt idx="24">
                  <c:v>18</c:v>
                </c:pt>
                <c:pt idx="25">
                  <c:v>19</c:v>
                </c:pt>
                <c:pt idx="26">
                  <c:v>19</c:v>
                </c:pt>
                <c:pt idx="27">
                  <c:v>19</c:v>
                </c:pt>
                <c:pt idx="28">
                  <c:v>19</c:v>
                </c:pt>
                <c:pt idx="29">
                  <c:v>19</c:v>
                </c:pt>
                <c:pt idx="30">
                  <c:v>20</c:v>
                </c:pt>
                <c:pt idx="31">
                  <c:v>20</c:v>
                </c:pt>
                <c:pt idx="32">
                  <c:v>20</c:v>
                </c:pt>
              </c:strCache>
            </c:strRef>
          </c:cat>
          <c:val>
            <c:numRef>
              <c:f>Sheet1!$B$2:$B$34</c:f>
              <c:numCache>
                <c:formatCode>General</c:formatCode>
                <c:ptCount val="33"/>
                <c:pt idx="0">
                  <c:v>111.17411760498044</c:v>
                </c:pt>
                <c:pt idx="1">
                  <c:v>110.23039635446096</c:v>
                </c:pt>
                <c:pt idx="2">
                  <c:v>109.29846900562339</c:v>
                </c:pt>
                <c:pt idx="3">
                  <c:v>108.37813870979937</c:v>
                </c:pt>
                <c:pt idx="4">
                  <c:v>107.46921201672679</c:v>
                </c:pt>
                <c:pt idx="5">
                  <c:v>106.57149885645877</c:v>
                </c:pt>
                <c:pt idx="6">
                  <c:v>105.68481251779002</c:v>
                </c:pt>
                <c:pt idx="7">
                  <c:v>104.80896962350228</c:v>
                </c:pt>
                <c:pt idx="8">
                  <c:v>103.81943149344339</c:v>
                </c:pt>
                <c:pt idx="9">
                  <c:v>102.84402229283576</c:v>
                </c:pt>
                <c:pt idx="10">
                  <c:v>101.88248306605172</c:v>
                </c:pt>
                <c:pt idx="11">
                  <c:v>100.9345591132133</c:v>
                </c:pt>
                <c:pt idx="12">
                  <c:v>100.0</c:v>
                </c:pt>
                <c:pt idx="13">
                  <c:v>98.4350342069052</c:v>
                </c:pt>
                <c:pt idx="14">
                  <c:v>96.91403568635275</c:v>
                </c:pt>
                <c:pt idx="15">
                  <c:v>95.43564781041881</c:v>
                </c:pt>
                <c:pt idx="16">
                  <c:v>93.99853436317433</c:v>
                </c:pt>
                <c:pt idx="17">
                  <c:v>92.60138255741843</c:v>
                </c:pt>
                <c:pt idx="18">
                  <c:v>91.24290523593233</c:v>
                </c:pt>
                <c:pt idx="19">
                  <c:v>89.92184243641745</c:v>
                </c:pt>
                <c:pt idx="20">
                  <c:v>88.63696247012135</c:v>
                </c:pt>
                <c:pt idx="21">
                  <c:v>87.38706263730639</c:v>
                </c:pt>
                <c:pt idx="22">
                  <c:v>86.17096967837745</c:v>
                </c:pt>
                <c:pt idx="23">
                  <c:v>84.98754003793735</c:v>
                </c:pt>
                <c:pt idx="24">
                  <c:v>83.83566000022967</c:v>
                </c:pt>
                <c:pt idx="25">
                  <c:v>82.71424573844843</c:v>
                </c:pt>
                <c:pt idx="26">
                  <c:v>82.13483263445507</c:v>
                </c:pt>
                <c:pt idx="27">
                  <c:v>81.56101804932933</c:v>
                </c:pt>
                <c:pt idx="28">
                  <c:v>80.99273589081886</c:v>
                </c:pt>
                <c:pt idx="29">
                  <c:v>80.42992083670993</c:v>
                </c:pt>
                <c:pt idx="30">
                  <c:v>79.87250833051493</c:v>
                </c:pt>
                <c:pt idx="31">
                  <c:v>79.3204345769188</c:v>
                </c:pt>
                <c:pt idx="32">
                  <c:v>78.7736365369945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4</c:f>
              <c:strCache>
                <c:ptCount val="33"/>
                <c:pt idx="0">
                  <c:v>14</c:v>
                </c:pt>
                <c:pt idx="1">
                  <c:v>14</c:v>
                </c:pt>
                <c:pt idx="2">
                  <c:v>14</c:v>
                </c:pt>
                <c:pt idx="3">
                  <c:v>14</c:v>
                </c:pt>
                <c:pt idx="4">
                  <c:v>14</c:v>
                </c:pt>
                <c:pt idx="5">
                  <c:v>15</c:v>
                </c:pt>
                <c:pt idx="6">
                  <c:v>15</c:v>
                </c:pt>
                <c:pt idx="7">
                  <c:v>15</c:v>
                </c:pt>
                <c:pt idx="8">
                  <c:v>15</c:v>
                </c:pt>
                <c:pt idx="9">
                  <c:v>15</c:v>
                </c:pt>
                <c:pt idx="10">
                  <c:v>16</c:v>
                </c:pt>
                <c:pt idx="11">
                  <c:v>16</c:v>
                </c:pt>
                <c:pt idx="12">
                  <c:v>16</c:v>
                </c:pt>
                <c:pt idx="13">
                  <c:v>16</c:v>
                </c:pt>
                <c:pt idx="14">
                  <c:v>16</c:v>
                </c:pt>
                <c:pt idx="15">
                  <c:v>17</c:v>
                </c:pt>
                <c:pt idx="16">
                  <c:v>17</c:v>
                </c:pt>
                <c:pt idx="17">
                  <c:v>17</c:v>
                </c:pt>
                <c:pt idx="18">
                  <c:v>17</c:v>
                </c:pt>
                <c:pt idx="19">
                  <c:v>17</c:v>
                </c:pt>
                <c:pt idx="20">
                  <c:v>18</c:v>
                </c:pt>
                <c:pt idx="21">
                  <c:v>18</c:v>
                </c:pt>
                <c:pt idx="22">
                  <c:v>18</c:v>
                </c:pt>
                <c:pt idx="23">
                  <c:v>18</c:v>
                </c:pt>
                <c:pt idx="24">
                  <c:v>18</c:v>
                </c:pt>
                <c:pt idx="25">
                  <c:v>19</c:v>
                </c:pt>
                <c:pt idx="26">
                  <c:v>19</c:v>
                </c:pt>
                <c:pt idx="27">
                  <c:v>19</c:v>
                </c:pt>
                <c:pt idx="28">
                  <c:v>19</c:v>
                </c:pt>
                <c:pt idx="29">
                  <c:v>19</c:v>
                </c:pt>
                <c:pt idx="30">
                  <c:v>20</c:v>
                </c:pt>
                <c:pt idx="31">
                  <c:v>20</c:v>
                </c:pt>
                <c:pt idx="32">
                  <c:v>20</c:v>
                </c:pt>
              </c:strCache>
            </c:strRef>
          </c:cat>
          <c:val>
            <c:numRef>
              <c:f>Sheet1!$C$2:$C$34</c:f>
              <c:numCache>
                <c:formatCode>General</c:formatCode>
                <c:ptCount val="33"/>
                <c:pt idx="0">
                  <c:v>94.7108316589209</c:v>
                </c:pt>
                <c:pt idx="1">
                  <c:v>95.26868915436334</c:v>
                </c:pt>
                <c:pt idx="2">
                  <c:v>95.81329120409741</c:v>
                </c:pt>
                <c:pt idx="3">
                  <c:v>96.34491532186236</c:v>
                </c:pt>
                <c:pt idx="4">
                  <c:v>96.86383167977401</c:v>
                </c:pt>
                <c:pt idx="5">
                  <c:v>97.37030333178554</c:v>
                </c:pt>
                <c:pt idx="6">
                  <c:v>97.86458643117493</c:v>
                </c:pt>
                <c:pt idx="7">
                  <c:v>98.34693044210945</c:v>
                </c:pt>
                <c:pt idx="8">
                  <c:v>98.69892612207558</c:v>
                </c:pt>
                <c:pt idx="9">
                  <c:v>99.03995432683097</c:v>
                </c:pt>
                <c:pt idx="10">
                  <c:v>99.37029618640443</c:v>
                </c:pt>
                <c:pt idx="11">
                  <c:v>99.69022369237769</c:v>
                </c:pt>
                <c:pt idx="12">
                  <c:v>100.0</c:v>
                </c:pt>
                <c:pt idx="13">
                  <c:v>99.65275186118781</c:v>
                </c:pt>
                <c:pt idx="14">
                  <c:v>99.31180749974646</c:v>
                </c:pt>
                <c:pt idx="15">
                  <c:v>98.97739193398803</c:v>
                </c:pt>
                <c:pt idx="16">
                  <c:v>98.64968452940501</c:v>
                </c:pt>
                <c:pt idx="17">
                  <c:v>98.3288234564419</c:v>
                </c:pt>
                <c:pt idx="18">
                  <c:v>98.01490950037477</c:v>
                </c:pt>
                <c:pt idx="19">
                  <c:v>97.70800934622163</c:v>
                </c:pt>
                <c:pt idx="20">
                  <c:v>97.40815844744081</c:v>
                </c:pt>
                <c:pt idx="21">
                  <c:v>97.11536357233337</c:v>
                </c:pt>
                <c:pt idx="22">
                  <c:v>96.82960510705206</c:v>
                </c:pt>
                <c:pt idx="23">
                  <c:v>96.55083917956027</c:v>
                </c:pt>
                <c:pt idx="24">
                  <c:v>96.27899965505918</c:v>
                </c:pt>
                <c:pt idx="25">
                  <c:v>96.01400004075829</c:v>
                </c:pt>
                <c:pt idx="26">
                  <c:v>96.35335264119696</c:v>
                </c:pt>
                <c:pt idx="27">
                  <c:v>96.68496169829436</c:v>
                </c:pt>
                <c:pt idx="28">
                  <c:v>97.00896057073193</c:v>
                </c:pt>
                <c:pt idx="29">
                  <c:v>97.32548007625343</c:v>
                </c:pt>
                <c:pt idx="30">
                  <c:v>97.63464854156254</c:v>
                </c:pt>
                <c:pt idx="31">
                  <c:v>97.93659185133144</c:v>
                </c:pt>
                <c:pt idx="32">
                  <c:v>98.2314334963235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4</c:f>
              <c:strCache>
                <c:ptCount val="33"/>
                <c:pt idx="0">
                  <c:v>14</c:v>
                </c:pt>
                <c:pt idx="1">
                  <c:v>14</c:v>
                </c:pt>
                <c:pt idx="2">
                  <c:v>14</c:v>
                </c:pt>
                <c:pt idx="3">
                  <c:v>14</c:v>
                </c:pt>
                <c:pt idx="4">
                  <c:v>14</c:v>
                </c:pt>
                <c:pt idx="5">
                  <c:v>15</c:v>
                </c:pt>
                <c:pt idx="6">
                  <c:v>15</c:v>
                </c:pt>
                <c:pt idx="7">
                  <c:v>15</c:v>
                </c:pt>
                <c:pt idx="8">
                  <c:v>15</c:v>
                </c:pt>
                <c:pt idx="9">
                  <c:v>15</c:v>
                </c:pt>
                <c:pt idx="10">
                  <c:v>16</c:v>
                </c:pt>
                <c:pt idx="11">
                  <c:v>16</c:v>
                </c:pt>
                <c:pt idx="12">
                  <c:v>16</c:v>
                </c:pt>
                <c:pt idx="13">
                  <c:v>16</c:v>
                </c:pt>
                <c:pt idx="14">
                  <c:v>16</c:v>
                </c:pt>
                <c:pt idx="15">
                  <c:v>17</c:v>
                </c:pt>
                <c:pt idx="16">
                  <c:v>17</c:v>
                </c:pt>
                <c:pt idx="17">
                  <c:v>17</c:v>
                </c:pt>
                <c:pt idx="18">
                  <c:v>17</c:v>
                </c:pt>
                <c:pt idx="19">
                  <c:v>17</c:v>
                </c:pt>
                <c:pt idx="20">
                  <c:v>18</c:v>
                </c:pt>
                <c:pt idx="21">
                  <c:v>18</c:v>
                </c:pt>
                <c:pt idx="22">
                  <c:v>18</c:v>
                </c:pt>
                <c:pt idx="23">
                  <c:v>18</c:v>
                </c:pt>
                <c:pt idx="24">
                  <c:v>18</c:v>
                </c:pt>
                <c:pt idx="25">
                  <c:v>19</c:v>
                </c:pt>
                <c:pt idx="26">
                  <c:v>19</c:v>
                </c:pt>
                <c:pt idx="27">
                  <c:v>19</c:v>
                </c:pt>
                <c:pt idx="28">
                  <c:v>19</c:v>
                </c:pt>
                <c:pt idx="29">
                  <c:v>19</c:v>
                </c:pt>
                <c:pt idx="30">
                  <c:v>20</c:v>
                </c:pt>
                <c:pt idx="31">
                  <c:v>20</c:v>
                </c:pt>
                <c:pt idx="32">
                  <c:v>20</c:v>
                </c:pt>
              </c:strCache>
            </c:strRef>
          </c:cat>
          <c:val>
            <c:numRef>
              <c:f>Sheet1!$D$2:$D$34</c:f>
              <c:numCache>
                <c:formatCode>General</c:formatCode>
                <c:ptCount val="33"/>
                <c:pt idx="0">
                  <c:v>87.64835935669343</c:v>
                </c:pt>
                <c:pt idx="1">
                  <c:v>88.84770979684085</c:v>
                </c:pt>
                <c:pt idx="2">
                  <c:v>90.02355963854734</c:v>
                </c:pt>
                <c:pt idx="3">
                  <c:v>91.1763638693292</c:v>
                </c:pt>
                <c:pt idx="4">
                  <c:v>92.30656665054501</c:v>
                </c:pt>
                <c:pt idx="5">
                  <c:v>93.41460159567161</c:v>
                </c:pt>
                <c:pt idx="6">
                  <c:v>94.50089204372732</c:v>
                </c:pt>
                <c:pt idx="7">
                  <c:v>95.56585132768896</c:v>
                </c:pt>
                <c:pt idx="8">
                  <c:v>96.49466054608573</c:v>
                </c:pt>
                <c:pt idx="9">
                  <c:v>97.40199218722006</c:v>
                </c:pt>
                <c:pt idx="10">
                  <c:v>98.28834101232418</c:v>
                </c:pt>
                <c:pt idx="11">
                  <c:v>99.1541878553126</c:v>
                </c:pt>
                <c:pt idx="12">
                  <c:v>100.0</c:v>
                </c:pt>
                <c:pt idx="13">
                  <c:v>100.17648796831149</c:v>
                </c:pt>
                <c:pt idx="14">
                  <c:v>100.34307852859408</c:v>
                </c:pt>
                <c:pt idx="15">
                  <c:v>100.5006743153787</c:v>
                </c:pt>
                <c:pt idx="16">
                  <c:v>100.6501044742927</c:v>
                </c:pt>
                <c:pt idx="17">
                  <c:v>100.79212965754382</c:v>
                </c:pt>
                <c:pt idx="18">
                  <c:v>100.92744645247238</c:v>
                </c:pt>
                <c:pt idx="19">
                  <c:v>101.05669134087178</c:v>
                </c:pt>
                <c:pt idx="20">
                  <c:v>101.18044427924244</c:v>
                </c:pt>
                <c:pt idx="21">
                  <c:v>101.29923198061685</c:v>
                </c:pt>
                <c:pt idx="22">
                  <c:v>101.41353096771262</c:v>
                </c:pt>
                <c:pt idx="23">
                  <c:v>101.52377045571185</c:v>
                </c:pt>
                <c:pt idx="24">
                  <c:v>101.63033511135767</c:v>
                </c:pt>
                <c:pt idx="25">
                  <c:v>101.73356772390285</c:v>
                </c:pt>
                <c:pt idx="26">
                  <c:v>102.46946739552638</c:v>
                </c:pt>
                <c:pt idx="27">
                  <c:v>103.19202764588363</c:v>
                </c:pt>
                <c:pt idx="28">
                  <c:v>103.90145938971538</c:v>
                </c:pt>
                <c:pt idx="29">
                  <c:v>104.59796989205716</c:v>
                </c:pt>
                <c:pt idx="30">
                  <c:v>105.2817628303934</c:v>
                </c:pt>
                <c:pt idx="31">
                  <c:v>105.95303835602152</c:v>
                </c:pt>
                <c:pt idx="32">
                  <c:v>106.6119931546119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4</c:f>
              <c:strCache>
                <c:ptCount val="33"/>
                <c:pt idx="0">
                  <c:v>14</c:v>
                </c:pt>
                <c:pt idx="1">
                  <c:v>14</c:v>
                </c:pt>
                <c:pt idx="2">
                  <c:v>14</c:v>
                </c:pt>
                <c:pt idx="3">
                  <c:v>14</c:v>
                </c:pt>
                <c:pt idx="4">
                  <c:v>14</c:v>
                </c:pt>
                <c:pt idx="5">
                  <c:v>15</c:v>
                </c:pt>
                <c:pt idx="6">
                  <c:v>15</c:v>
                </c:pt>
                <c:pt idx="7">
                  <c:v>15</c:v>
                </c:pt>
                <c:pt idx="8">
                  <c:v>15</c:v>
                </c:pt>
                <c:pt idx="9">
                  <c:v>15</c:v>
                </c:pt>
                <c:pt idx="10">
                  <c:v>16</c:v>
                </c:pt>
                <c:pt idx="11">
                  <c:v>16</c:v>
                </c:pt>
                <c:pt idx="12">
                  <c:v>16</c:v>
                </c:pt>
                <c:pt idx="13">
                  <c:v>16</c:v>
                </c:pt>
                <c:pt idx="14">
                  <c:v>16</c:v>
                </c:pt>
                <c:pt idx="15">
                  <c:v>17</c:v>
                </c:pt>
                <c:pt idx="16">
                  <c:v>17</c:v>
                </c:pt>
                <c:pt idx="17">
                  <c:v>17</c:v>
                </c:pt>
                <c:pt idx="18">
                  <c:v>17</c:v>
                </c:pt>
                <c:pt idx="19">
                  <c:v>17</c:v>
                </c:pt>
                <c:pt idx="20">
                  <c:v>18</c:v>
                </c:pt>
                <c:pt idx="21">
                  <c:v>18</c:v>
                </c:pt>
                <c:pt idx="22">
                  <c:v>18</c:v>
                </c:pt>
                <c:pt idx="23">
                  <c:v>18</c:v>
                </c:pt>
                <c:pt idx="24">
                  <c:v>18</c:v>
                </c:pt>
                <c:pt idx="25">
                  <c:v>19</c:v>
                </c:pt>
                <c:pt idx="26">
                  <c:v>19</c:v>
                </c:pt>
                <c:pt idx="27">
                  <c:v>19</c:v>
                </c:pt>
                <c:pt idx="28">
                  <c:v>19</c:v>
                </c:pt>
                <c:pt idx="29">
                  <c:v>19</c:v>
                </c:pt>
                <c:pt idx="30">
                  <c:v>20</c:v>
                </c:pt>
                <c:pt idx="31">
                  <c:v>20</c:v>
                </c:pt>
                <c:pt idx="32">
                  <c:v>20</c:v>
                </c:pt>
              </c:strCache>
            </c:strRef>
          </c:cat>
          <c:val>
            <c:numRef>
              <c:f>Sheet1!$E$2:$E$34</c:f>
              <c:numCache>
                <c:formatCode>General</c:formatCode>
                <c:ptCount val="33"/>
                <c:pt idx="0">
                  <c:v>0.6598286827426829</c:v>
                </c:pt>
                <c:pt idx="1">
                  <c:v>0.6647694426157013</c:v>
                </c:pt>
                <c:pt idx="2">
                  <c:v>0.6695687347758201</c:v>
                </c:pt>
                <c:pt idx="3">
                  <c:v>0.6742325493873117</c:v>
                </c:pt>
                <c:pt idx="4">
                  <c:v>0.678766543132791</c:v>
                </c:pt>
                <c:pt idx="5">
                  <c:v>0.6831760621014555</c:v>
                </c:pt>
                <c:pt idx="6">
                  <c:v>0.6874661628177525</c:v>
                </c:pt>
                <c:pt idx="7">
                  <c:v>0.6916416315843825</c:v>
                </c:pt>
                <c:pt idx="8">
                  <c:v>0.6957070022952015</c:v>
                </c:pt>
                <c:pt idx="9">
                  <c:v>0.6996665728573979</c:v>
                </c:pt>
                <c:pt idx="10">
                  <c:v>0.7035244203479901</c:v>
                </c:pt>
                <c:pt idx="11">
                  <c:v>0.7072844150170075</c:v>
                </c:pt>
                <c:pt idx="12">
                  <c:v>0.7109502332384601</c:v>
                </c:pt>
                <c:pt idx="13">
                  <c:v>0.7145253695001983</c:v>
                </c:pt>
                <c:pt idx="14">
                  <c:v>0.7180131475148569</c:v>
                </c:pt>
                <c:pt idx="15">
                  <c:v>0.721416730526144</c:v>
                </c:pt>
                <c:pt idx="16">
                  <c:v>0.7247391308776509</c:v>
                </c:pt>
                <c:pt idx="17">
                  <c:v>0.727983218905021</c:v>
                </c:pt>
                <c:pt idx="18">
                  <c:v>0.7311517312066514</c:v>
                </c:pt>
                <c:pt idx="19">
                  <c:v>0.7342472783430171</c:v>
                </c:pt>
                <c:pt idx="20">
                  <c:v>0.7372723520101427</c:v>
                </c:pt>
                <c:pt idx="21">
                  <c:v>0.7402293317286555</c:v>
                </c:pt>
                <c:pt idx="22">
                  <c:v>0.743120491086155</c:v>
                </c:pt>
                <c:pt idx="23">
                  <c:v>0.7459480035673202</c:v>
                </c:pt>
                <c:pt idx="24">
                  <c:v>0.7487139480031686</c:v>
                </c:pt>
                <c:pt idx="25">
                  <c:v>0.7514203136681855</c:v>
                </c:pt>
                <c:pt idx="26">
                  <c:v>0.7540690050515826</c:v>
                </c:pt>
                <c:pt idx="27">
                  <c:v>0.7566618463267374</c:v>
                </c:pt>
                <c:pt idx="28">
                  <c:v>0.7592005855408559</c:v>
                </c:pt>
                <c:pt idx="29">
                  <c:v>0.7616868985450804</c:v>
                </c:pt>
                <c:pt idx="30">
                  <c:v>0.7641223926836079</c:v>
                </c:pt>
                <c:pt idx="31">
                  <c:v>0.7665086102588875</c:v>
                </c:pt>
                <c:pt idx="32">
                  <c:v>0.768847031788593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2</c:f>
              <c:strCache>
                <c:ptCount val="31"/>
                <c:pt idx="0">
                  <c:v>17</c:v>
                </c:pt>
                <c:pt idx="1">
                  <c:v>17</c:v>
                </c:pt>
                <c:pt idx="2">
                  <c:v>17</c:v>
                </c:pt>
                <c:pt idx="3">
                  <c:v>18</c:v>
                </c:pt>
                <c:pt idx="4">
                  <c:v>18</c:v>
                </c:pt>
                <c:pt idx="5">
                  <c:v>18</c:v>
                </c:pt>
                <c:pt idx="6">
                  <c:v>18</c:v>
                </c:pt>
                <c:pt idx="7">
                  <c:v>18</c:v>
                </c:pt>
                <c:pt idx="8">
                  <c:v>19</c:v>
                </c:pt>
                <c:pt idx="9">
                  <c:v>19</c:v>
                </c:pt>
                <c:pt idx="10">
                  <c:v>19</c:v>
                </c:pt>
                <c:pt idx="11">
                  <c:v>19</c:v>
                </c:pt>
                <c:pt idx="12">
                  <c:v>19</c:v>
                </c:pt>
                <c:pt idx="13">
                  <c:v>20</c:v>
                </c:pt>
                <c:pt idx="14">
                  <c:v>20</c:v>
                </c:pt>
                <c:pt idx="15">
                  <c:v>20</c:v>
                </c:pt>
                <c:pt idx="16">
                  <c:v>20</c:v>
                </c:pt>
                <c:pt idx="17">
                  <c:v>20</c:v>
                </c:pt>
                <c:pt idx="18">
                  <c:v>21</c:v>
                </c:pt>
                <c:pt idx="19">
                  <c:v>21</c:v>
                </c:pt>
                <c:pt idx="20">
                  <c:v>21</c:v>
                </c:pt>
                <c:pt idx="21">
                  <c:v>21</c:v>
                </c:pt>
                <c:pt idx="22">
                  <c:v>21</c:v>
                </c:pt>
                <c:pt idx="23">
                  <c:v>22</c:v>
                </c:pt>
                <c:pt idx="24">
                  <c:v>22</c:v>
                </c:pt>
                <c:pt idx="25">
                  <c:v>22</c:v>
                </c:pt>
                <c:pt idx="26">
                  <c:v>22</c:v>
                </c:pt>
                <c:pt idx="27">
                  <c:v>22</c:v>
                </c:pt>
                <c:pt idx="28">
                  <c:v>23</c:v>
                </c:pt>
                <c:pt idx="29">
                  <c:v>23</c:v>
                </c:pt>
                <c:pt idx="30">
                  <c:v>23</c:v>
                </c:pt>
              </c:strCache>
            </c:strRef>
          </c:cat>
          <c:val>
            <c:numRef>
              <c:f>Sheet1!$B$2:$B$32</c:f>
              <c:numCache>
                <c:formatCode>General</c:formatCode>
                <c:ptCount val="31"/>
                <c:pt idx="0">
                  <c:v>114.79805710513604</c:v>
                </c:pt>
                <c:pt idx="1">
                  <c:v>113.50005580388776</c:v>
                </c:pt>
                <c:pt idx="2">
                  <c:v>112.23446477850875</c:v>
                </c:pt>
                <c:pt idx="3">
                  <c:v>111.0000354375686</c:v>
                </c:pt>
                <c:pt idx="4">
                  <c:v>109.79556838069165</c:v>
                </c:pt>
                <c:pt idx="5">
                  <c:v>108.61991277460274</c:v>
                </c:pt>
                <c:pt idx="6">
                  <c:v>107.47196549623825</c:v>
                </c:pt>
                <c:pt idx="7">
                  <c:v>106.3506700882917</c:v>
                </c:pt>
                <c:pt idx="8">
                  <c:v>105.2550155659672</c:v>
                </c:pt>
                <c:pt idx="9">
                  <c:v>104.48138320107437</c:v>
                </c:pt>
                <c:pt idx="10">
                  <c:v>103.71553585954436</c:v>
                </c:pt>
                <c:pt idx="11">
                  <c:v>102.9573849879132</c:v>
                </c:pt>
                <c:pt idx="12">
                  <c:v>102.20684273530807</c:v>
                </c:pt>
                <c:pt idx="13">
                  <c:v>101.46382196702723</c:v>
                </c:pt>
                <c:pt idx="14">
                  <c:v>100.72823627711915</c:v>
                </c:pt>
                <c:pt idx="15">
                  <c:v>100.0</c:v>
                </c:pt>
                <c:pt idx="16">
                  <c:v>99.1254472971679</c:v>
                </c:pt>
                <c:pt idx="17">
                  <c:v>98.26896563834696</c:v>
                </c:pt>
                <c:pt idx="18">
                  <c:v>97.42996910888482</c:v>
                </c:pt>
                <c:pt idx="19">
                  <c:v>96.60789507606071</c:v>
                </c:pt>
                <c:pt idx="20">
                  <c:v>95.8022032170478</c:v>
                </c:pt>
                <c:pt idx="21">
                  <c:v>95.01237457983812</c:v>
                </c:pt>
                <c:pt idx="22">
                  <c:v>94.23791067760298</c:v>
                </c:pt>
                <c:pt idx="23">
                  <c:v>93.47833261663216</c:v>
                </c:pt>
                <c:pt idx="24">
                  <c:v>92.73318025774124</c:v>
                </c:pt>
                <c:pt idx="25">
                  <c:v>92.00201141079762</c:v>
                </c:pt>
                <c:pt idx="26">
                  <c:v>91.2844010618675</c:v>
                </c:pt>
                <c:pt idx="27">
                  <c:v>90.5799406323123</c:v>
                </c:pt>
                <c:pt idx="28">
                  <c:v>89.88823726908278</c:v>
                </c:pt>
                <c:pt idx="29">
                  <c:v>89.20891316535283</c:v>
                </c:pt>
                <c:pt idx="30">
                  <c:v>88.5416049105797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2</c:f>
              <c:strCache>
                <c:ptCount val="31"/>
                <c:pt idx="0">
                  <c:v>17</c:v>
                </c:pt>
                <c:pt idx="1">
                  <c:v>17</c:v>
                </c:pt>
                <c:pt idx="2">
                  <c:v>17</c:v>
                </c:pt>
                <c:pt idx="3">
                  <c:v>18</c:v>
                </c:pt>
                <c:pt idx="4">
                  <c:v>18</c:v>
                </c:pt>
                <c:pt idx="5">
                  <c:v>18</c:v>
                </c:pt>
                <c:pt idx="6">
                  <c:v>18</c:v>
                </c:pt>
                <c:pt idx="7">
                  <c:v>18</c:v>
                </c:pt>
                <c:pt idx="8">
                  <c:v>19</c:v>
                </c:pt>
                <c:pt idx="9">
                  <c:v>19</c:v>
                </c:pt>
                <c:pt idx="10">
                  <c:v>19</c:v>
                </c:pt>
                <c:pt idx="11">
                  <c:v>19</c:v>
                </c:pt>
                <c:pt idx="12">
                  <c:v>19</c:v>
                </c:pt>
                <c:pt idx="13">
                  <c:v>20</c:v>
                </c:pt>
                <c:pt idx="14">
                  <c:v>20</c:v>
                </c:pt>
                <c:pt idx="15">
                  <c:v>20</c:v>
                </c:pt>
                <c:pt idx="16">
                  <c:v>20</c:v>
                </c:pt>
                <c:pt idx="17">
                  <c:v>20</c:v>
                </c:pt>
                <c:pt idx="18">
                  <c:v>21</c:v>
                </c:pt>
                <c:pt idx="19">
                  <c:v>21</c:v>
                </c:pt>
                <c:pt idx="20">
                  <c:v>21</c:v>
                </c:pt>
                <c:pt idx="21">
                  <c:v>21</c:v>
                </c:pt>
                <c:pt idx="22">
                  <c:v>21</c:v>
                </c:pt>
                <c:pt idx="23">
                  <c:v>22</c:v>
                </c:pt>
                <c:pt idx="24">
                  <c:v>22</c:v>
                </c:pt>
                <c:pt idx="25">
                  <c:v>22</c:v>
                </c:pt>
                <c:pt idx="26">
                  <c:v>22</c:v>
                </c:pt>
                <c:pt idx="27">
                  <c:v>22</c:v>
                </c:pt>
                <c:pt idx="28">
                  <c:v>23</c:v>
                </c:pt>
                <c:pt idx="29">
                  <c:v>23</c:v>
                </c:pt>
                <c:pt idx="30">
                  <c:v>23</c:v>
                </c:pt>
              </c:strCache>
            </c:strRef>
          </c:cat>
          <c:val>
            <c:numRef>
              <c:f>Sheet1!$C$2:$C$32</c:f>
              <c:numCache>
                <c:formatCode>General</c:formatCode>
                <c:ptCount val="31"/>
                <c:pt idx="0">
                  <c:v>97.78247076612445</c:v>
                </c:pt>
                <c:pt idx="1">
                  <c:v>97.80117927101422</c:v>
                </c:pt>
                <c:pt idx="2">
                  <c:v>97.82227417864291</c:v>
                </c:pt>
                <c:pt idx="3">
                  <c:v>97.84562645720123</c:v>
                </c:pt>
                <c:pt idx="4">
                  <c:v>97.87110104257279</c:v>
                </c:pt>
                <c:pt idx="5">
                  <c:v>97.89855873002455</c:v>
                </c:pt>
                <c:pt idx="6">
                  <c:v>97.92785781637298</c:v>
                </c:pt>
                <c:pt idx="7">
                  <c:v>97.95885551808081</c:v>
                </c:pt>
                <c:pt idx="8">
                  <c:v>97.991409188254</c:v>
                </c:pt>
                <c:pt idx="9">
                  <c:v>98.30152499378728</c:v>
                </c:pt>
                <c:pt idx="10">
                  <c:v>98.60366811688289</c:v>
                </c:pt>
                <c:pt idx="11">
                  <c:v>98.89799035712554</c:v>
                </c:pt>
                <c:pt idx="12">
                  <c:v>99.18464043721151</c:v>
                </c:pt>
                <c:pt idx="13">
                  <c:v>99.46376406073662</c:v>
                </c:pt>
                <c:pt idx="14">
                  <c:v>99.73550396945676</c:v>
                </c:pt>
                <c:pt idx="15">
                  <c:v>100.0</c:v>
                </c:pt>
                <c:pt idx="16">
                  <c:v>100.1063951144983</c:v>
                </c:pt>
                <c:pt idx="17">
                  <c:v>100.2138254187695</c:v>
                </c:pt>
                <c:pt idx="18">
                  <c:v>100.3222272193365</c:v>
                </c:pt>
                <c:pt idx="19">
                  <c:v>100.43153771008251</c:v>
                </c:pt>
                <c:pt idx="20">
                  <c:v>100.54169511004076</c:v>
                </c:pt>
                <c:pt idx="21">
                  <c:v>100.65263877808451</c:v>
                </c:pt>
                <c:pt idx="22">
                  <c:v>100.76430930731686</c:v>
                </c:pt>
                <c:pt idx="23">
                  <c:v>100.87664860164492</c:v>
                </c:pt>
                <c:pt idx="24">
                  <c:v>100.98959993675626</c:v>
                </c:pt>
                <c:pt idx="25">
                  <c:v>101.10310800744438</c:v>
                </c:pt>
                <c:pt idx="26">
                  <c:v>101.21711896303734</c:v>
                </c:pt>
                <c:pt idx="27">
                  <c:v>101.33158043245099</c:v>
                </c:pt>
                <c:pt idx="28">
                  <c:v>101.44644154024279</c:v>
                </c:pt>
                <c:pt idx="29">
                  <c:v>101.56165291486197</c:v>
                </c:pt>
                <c:pt idx="30">
                  <c:v>101.6771666901598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2</c:f>
              <c:strCache>
                <c:ptCount val="31"/>
                <c:pt idx="0">
                  <c:v>17</c:v>
                </c:pt>
                <c:pt idx="1">
                  <c:v>17</c:v>
                </c:pt>
                <c:pt idx="2">
                  <c:v>17</c:v>
                </c:pt>
                <c:pt idx="3">
                  <c:v>18</c:v>
                </c:pt>
                <c:pt idx="4">
                  <c:v>18</c:v>
                </c:pt>
                <c:pt idx="5">
                  <c:v>18</c:v>
                </c:pt>
                <c:pt idx="6">
                  <c:v>18</c:v>
                </c:pt>
                <c:pt idx="7">
                  <c:v>18</c:v>
                </c:pt>
                <c:pt idx="8">
                  <c:v>19</c:v>
                </c:pt>
                <c:pt idx="9">
                  <c:v>19</c:v>
                </c:pt>
                <c:pt idx="10">
                  <c:v>19</c:v>
                </c:pt>
                <c:pt idx="11">
                  <c:v>19</c:v>
                </c:pt>
                <c:pt idx="12">
                  <c:v>19</c:v>
                </c:pt>
                <c:pt idx="13">
                  <c:v>20</c:v>
                </c:pt>
                <c:pt idx="14">
                  <c:v>20</c:v>
                </c:pt>
                <c:pt idx="15">
                  <c:v>20</c:v>
                </c:pt>
                <c:pt idx="16">
                  <c:v>20</c:v>
                </c:pt>
                <c:pt idx="17">
                  <c:v>20</c:v>
                </c:pt>
                <c:pt idx="18">
                  <c:v>21</c:v>
                </c:pt>
                <c:pt idx="19">
                  <c:v>21</c:v>
                </c:pt>
                <c:pt idx="20">
                  <c:v>21</c:v>
                </c:pt>
                <c:pt idx="21">
                  <c:v>21</c:v>
                </c:pt>
                <c:pt idx="22">
                  <c:v>21</c:v>
                </c:pt>
                <c:pt idx="23">
                  <c:v>22</c:v>
                </c:pt>
                <c:pt idx="24">
                  <c:v>22</c:v>
                </c:pt>
                <c:pt idx="25">
                  <c:v>22</c:v>
                </c:pt>
                <c:pt idx="26">
                  <c:v>22</c:v>
                </c:pt>
                <c:pt idx="27">
                  <c:v>22</c:v>
                </c:pt>
                <c:pt idx="28">
                  <c:v>23</c:v>
                </c:pt>
                <c:pt idx="29">
                  <c:v>23</c:v>
                </c:pt>
                <c:pt idx="30">
                  <c:v>23</c:v>
                </c:pt>
              </c:strCache>
            </c:strRef>
          </c:cat>
          <c:val>
            <c:numRef>
              <c:f>Sheet1!$D$2:$D$32</c:f>
              <c:numCache>
                <c:formatCode>General</c:formatCode>
                <c:ptCount val="31"/>
                <c:pt idx="0">
                  <c:v>88.86032335827481</c:v>
                </c:pt>
                <c:pt idx="1">
                  <c:v>89.56721195202411</c:v>
                </c:pt>
                <c:pt idx="2">
                  <c:v>90.26106131570859</c:v>
                </c:pt>
                <c:pt idx="3">
                  <c:v>90.94231035960266</c:v>
                </c:pt>
                <c:pt idx="4">
                  <c:v>91.61136431604132</c:v>
                </c:pt>
                <c:pt idx="5">
                  <c:v>92.26859783892385</c:v>
                </c:pt>
                <c:pt idx="6">
                  <c:v>92.91435785518043</c:v>
                </c:pt>
                <c:pt idx="7">
                  <c:v>93.54896618238229</c:v>
                </c:pt>
                <c:pt idx="8">
                  <c:v>94.17272192637793</c:v>
                </c:pt>
                <c:pt idx="9">
                  <c:v>95.05183746552851</c:v>
                </c:pt>
                <c:pt idx="10">
                  <c:v>95.91496994841224</c:v>
                </c:pt>
                <c:pt idx="11">
                  <c:v>96.76238428873944</c:v>
                </c:pt>
                <c:pt idx="12">
                  <c:v>97.59434083344613</c:v>
                </c:pt>
                <c:pt idx="13">
                  <c:v>98.41109542633404</c:v>
                </c:pt>
                <c:pt idx="14">
                  <c:v>99.212899472002</c:v>
                </c:pt>
                <c:pt idx="15">
                  <c:v>100.0</c:v>
                </c:pt>
                <c:pt idx="16">
                  <c:v>100.61970541769027</c:v>
                </c:pt>
                <c:pt idx="17">
                  <c:v>101.23168877291835</c:v>
                </c:pt>
                <c:pt idx="18">
                  <c:v>101.83615314843912</c:v>
                </c:pt>
                <c:pt idx="19">
                  <c:v>102.43329112310087</c:v>
                </c:pt>
                <c:pt idx="20">
                  <c:v>103.02328546827117</c:v>
                </c:pt>
                <c:pt idx="21">
                  <c:v>103.60630979359588</c:v>
                </c:pt>
                <c:pt idx="22">
                  <c:v>104.18252914595702</c:v>
                </c:pt>
                <c:pt idx="23">
                  <c:v>104.75210056519697</c:v>
                </c:pt>
                <c:pt idx="24">
                  <c:v>105.31517359991828</c:v>
                </c:pt>
                <c:pt idx="25">
                  <c:v>105.8718907863931</c:v>
                </c:pt>
                <c:pt idx="26">
                  <c:v>106.42238809340803</c:v>
                </c:pt>
                <c:pt idx="27">
                  <c:v>106.96679533561746</c:v>
                </c:pt>
                <c:pt idx="28">
                  <c:v>107.50523655780688</c:v>
                </c:pt>
                <c:pt idx="29">
                  <c:v>108.03783039225895</c:v>
                </c:pt>
                <c:pt idx="30">
                  <c:v>108.5646903912459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2</c:f>
              <c:strCache>
                <c:ptCount val="31"/>
                <c:pt idx="0">
                  <c:v>17</c:v>
                </c:pt>
                <c:pt idx="1">
                  <c:v>17</c:v>
                </c:pt>
                <c:pt idx="2">
                  <c:v>17</c:v>
                </c:pt>
                <c:pt idx="3">
                  <c:v>18</c:v>
                </c:pt>
                <c:pt idx="4">
                  <c:v>18</c:v>
                </c:pt>
                <c:pt idx="5">
                  <c:v>18</c:v>
                </c:pt>
                <c:pt idx="6">
                  <c:v>18</c:v>
                </c:pt>
                <c:pt idx="7">
                  <c:v>18</c:v>
                </c:pt>
                <c:pt idx="8">
                  <c:v>19</c:v>
                </c:pt>
                <c:pt idx="9">
                  <c:v>19</c:v>
                </c:pt>
                <c:pt idx="10">
                  <c:v>19</c:v>
                </c:pt>
                <c:pt idx="11">
                  <c:v>19</c:v>
                </c:pt>
                <c:pt idx="12">
                  <c:v>19</c:v>
                </c:pt>
                <c:pt idx="13">
                  <c:v>20</c:v>
                </c:pt>
                <c:pt idx="14">
                  <c:v>20</c:v>
                </c:pt>
                <c:pt idx="15">
                  <c:v>20</c:v>
                </c:pt>
                <c:pt idx="16">
                  <c:v>20</c:v>
                </c:pt>
                <c:pt idx="17">
                  <c:v>20</c:v>
                </c:pt>
                <c:pt idx="18">
                  <c:v>21</c:v>
                </c:pt>
                <c:pt idx="19">
                  <c:v>21</c:v>
                </c:pt>
                <c:pt idx="20">
                  <c:v>21</c:v>
                </c:pt>
                <c:pt idx="21">
                  <c:v>21</c:v>
                </c:pt>
                <c:pt idx="22">
                  <c:v>21</c:v>
                </c:pt>
                <c:pt idx="23">
                  <c:v>22</c:v>
                </c:pt>
                <c:pt idx="24">
                  <c:v>22</c:v>
                </c:pt>
                <c:pt idx="25">
                  <c:v>22</c:v>
                </c:pt>
                <c:pt idx="26">
                  <c:v>22</c:v>
                </c:pt>
                <c:pt idx="27">
                  <c:v>22</c:v>
                </c:pt>
                <c:pt idx="28">
                  <c:v>23</c:v>
                </c:pt>
                <c:pt idx="29">
                  <c:v>23</c:v>
                </c:pt>
                <c:pt idx="30">
                  <c:v>23</c:v>
                </c:pt>
              </c:strCache>
            </c:strRef>
          </c:cat>
          <c:val>
            <c:numRef>
              <c:f>Sheet1!$E$2:$E$32</c:f>
              <c:numCache>
                <c:formatCode>General</c:formatCode>
                <c:ptCount val="31"/>
                <c:pt idx="0">
                  <c:v>0.6084654593637853</c:v>
                </c:pt>
                <c:pt idx="1">
                  <c:v>0.6130261412582082</c:v>
                </c:pt>
                <c:pt idx="2">
                  <c:v>0.6174817988142449</c:v>
                </c:pt>
                <c:pt idx="3">
                  <c:v>0.6218360185204005</c:v>
                </c:pt>
                <c:pt idx="4">
                  <c:v>0.6260922254025569</c:v>
                </c:pt>
                <c:pt idx="5">
                  <c:v>0.630253692009095</c:v>
                </c:pt>
                <c:pt idx="6">
                  <c:v>0.6343235468026107</c:v>
                </c:pt>
                <c:pt idx="7">
                  <c:v>0.6383047820034533</c:v>
                </c:pt>
                <c:pt idx="8">
                  <c:v>0.6422002609264101</c:v>
                </c:pt>
                <c:pt idx="9">
                  <c:v>0.646012724848345</c:v>
                </c:pt>
                <c:pt idx="10">
                  <c:v>0.6497447994414042</c:v>
                </c:pt>
                <c:pt idx="11">
                  <c:v>0.6533990008035178</c:v>
                </c:pt>
                <c:pt idx="12">
                  <c:v>0.6569777411153039</c:v>
                </c:pt>
                <c:pt idx="13">
                  <c:v>0.6604833339500988</c:v>
                </c:pt>
                <c:pt idx="14">
                  <c:v>0.6639179992616812</c:v>
                </c:pt>
                <c:pt idx="15">
                  <c:v>0.6672838680722802</c:v>
                </c:pt>
                <c:pt idx="16">
                  <c:v>0.6705829868816774</c:v>
                </c:pt>
                <c:pt idx="17">
                  <c:v>0.6738173218165652</c:v>
                </c:pt>
                <c:pt idx="18">
                  <c:v>0.6769887625378432</c:v>
                </c:pt>
                <c:pt idx="19">
                  <c:v>0.6800991259221683</c:v>
                </c:pt>
                <c:pt idx="20">
                  <c:v>0.6831501595328295</c:v>
                </c:pt>
                <c:pt idx="21">
                  <c:v>0.6861435448938799</c:v>
                </c:pt>
                <c:pt idx="22">
                  <c:v>0.6890809005804135</c:v>
                </c:pt>
                <c:pt idx="23">
                  <c:v>0.6919637851369232</c:v>
                </c:pt>
                <c:pt idx="24">
                  <c:v>0.6947936998347926</c:v>
                </c:pt>
                <c:pt idx="25">
                  <c:v>0.6975720912791732</c:v>
                </c:pt>
                <c:pt idx="26">
                  <c:v>0.7003003538747602</c:v>
                </c:pt>
                <c:pt idx="27">
                  <c:v>0.7029798321592953</c:v>
                </c:pt>
                <c:pt idx="28">
                  <c:v>0.7056118230130012</c:v>
                </c:pt>
                <c:pt idx="29">
                  <c:v>0.7081975777515783</c:v>
                </c:pt>
                <c:pt idx="30">
                  <c:v>0.710738304109857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Xtreme 2 Sensitive Disposable Razors 12 Pack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12 Pack (5.7%)</c:v>
                </c:pt>
                <c:pt idx="1">
                  <c:v>Equate 2 Blade Disposable Razors 5 Pack (5.5%)</c:v>
                </c:pt>
                <c:pt idx="2">
                  <c:v>Schick Xtreme 3 Sensitive Disposable Razors 4 Pack (2.8%)</c:v>
                </c:pt>
                <c:pt idx="3">
                  <c:v>Bic Men Sensitive Single Blade Disposable Razors 12 Pack (5.7%)</c:v>
                </c:pt>
                <c:pt idx="4">
                  <c:v>Equate Speed 3 Disposable Razors 4 Pack (2.3%)</c:v>
                </c:pt>
                <c:pt idx="5">
                  <c:v>Equate Caliber 5 Disposable Razors 3 Pack (2.2%)</c:v>
                </c:pt>
                <c:pt idx="6">
                  <c:v>Equate Caliber 3 Disposable Razors 3 Pack (1.4%)</c:v>
                </c:pt>
                <c:pt idx="7">
                  <c:v>None Razors (12.2%)</c:v>
                </c:pt>
                <c:pt idx="8">
                  <c:v>Equate Speed 3 Disposable Razors 8 Pack (1.9%)</c:v>
                </c:pt>
                <c:pt idx="9">
                  <c:v>Gillette Sensor 2 Plus Disposable Razors 10 Pack (2.2%)</c:v>
                </c:pt>
              </c:strCache>
            </c:strRef>
          </c:cat>
          <c:val>
            <c:numRef>
              <c:f>Sheet1!$B$2:$B$11</c:f>
              <c:numCache>
                <c:formatCode>General</c:formatCode>
                <c:ptCount val="10"/>
                <c:pt idx="0">
                  <c:v>0.14733982461159736</c:v>
                </c:pt>
                <c:pt idx="1">
                  <c:v>0.1472373693363875</c:v>
                </c:pt>
                <c:pt idx="2">
                  <c:v>0.08690405184784153</c:v>
                </c:pt>
                <c:pt idx="3">
                  <c:v>0.07699867998608968</c:v>
                </c:pt>
                <c:pt idx="4">
                  <c:v>0.06721554528321524</c:v>
                </c:pt>
                <c:pt idx="5">
                  <c:v>0.048072719954797914</c:v>
                </c:pt>
                <c:pt idx="6">
                  <c:v>0.038247280590387484</c:v>
                </c:pt>
                <c:pt idx="7">
                  <c:v>0.0344315173398015</c:v>
                </c:pt>
                <c:pt idx="8">
                  <c:v>0.03176644608229471</c:v>
                </c:pt>
                <c:pt idx="9">
                  <c:v>0.0314242843978680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Schick</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Gillet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Bic</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5</c:f>
              <c:numCache>
                <c:formatCode>General</c:formatCode>
                <c:ptCount val="4"/>
                <c:pt idx="0">
                  <c:v>-0.8279727264994117</c:v>
                </c:pt>
                <c:pt idx="1">
                  <c:v>-0.16466784913380908</c:v>
                </c:pt>
                <c:pt idx="2">
                  <c:v>-0.7523330973864419</c:v>
                </c:pt>
                <c:pt idx="3">
                  <c:v>-0.4566461578336188</c:v>
                </c:pt>
              </c:numCache>
            </c:numRef>
          </c:xVal>
          <c:yVal>
            <c:numRef>
              <c:f>Sheet1!$B$2:$B$5</c:f>
              <c:numCache>
                <c:formatCode>General</c:formatCode>
                <c:ptCount val="4"/>
                <c:pt idx="0">
                  <c:v>-1.152006514055162</c:v>
                </c:pt>
                <c:pt idx="1">
                  <c:v>-0.202928375687319</c:v>
                </c:pt>
                <c:pt idx="2">
                  <c:v>-0.637824611626706</c:v>
                </c:pt>
                <c:pt idx="3">
                  <c:v>-0.4279086077489828</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Xtreme 2 Sensitive Disposable Razors 12 Pack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Equate 2 Blade Disposable Razors 12 Pack (5.7%)</c:v>
                </c:pt>
                <c:pt idx="2">
                  <c:v>Equate 2 Blade Disposable Razors 5 Pack (5.5%)</c:v>
                </c:pt>
                <c:pt idx="3">
                  <c:v>Equate Speed 3 Disposable Razors 4 Pack (2.3%)</c:v>
                </c:pt>
                <c:pt idx="4">
                  <c:v>Bic Men Sensitive Single Blade Disposable Razors 12 Pack (5.7%)</c:v>
                </c:pt>
                <c:pt idx="5">
                  <c:v>Equate Speed 3 Disposable Razors 8 Pack (1.9%)</c:v>
                </c:pt>
                <c:pt idx="6">
                  <c:v>Equate Caliber 5 Disposable Razors 3 Pack (2.2%)</c:v>
                </c:pt>
                <c:pt idx="7">
                  <c:v>Equate Caliber 3 Disposable Razors 3 Pack (1.4%)</c:v>
                </c:pt>
                <c:pt idx="8">
                  <c:v>Schick Xtreme 3 Sensitive Disposable Razors 8 Pack (1.7%)</c:v>
                </c:pt>
                <c:pt idx="9">
                  <c:v>None Razors (12.2%)</c:v>
                </c:pt>
              </c:strCache>
            </c:strRef>
          </c:cat>
          <c:val>
            <c:numRef>
              <c:f>Sheet1!$B$2:$B$11</c:f>
              <c:numCache>
                <c:formatCode>General</c:formatCode>
                <c:ptCount val="10"/>
                <c:pt idx="0">
                  <c:v>0.16331423172078668</c:v>
                </c:pt>
                <c:pt idx="1">
                  <c:v>0.08494563762300708</c:v>
                </c:pt>
                <c:pt idx="2">
                  <c:v>0.08395031209132008</c:v>
                </c:pt>
                <c:pt idx="3">
                  <c:v>0.0813711827104952</c:v>
                </c:pt>
                <c:pt idx="4">
                  <c:v>0.06683328062429537</c:v>
                </c:pt>
                <c:pt idx="5">
                  <c:v>0.052992793714578774</c:v>
                </c:pt>
                <c:pt idx="6">
                  <c:v>0.05022993305394137</c:v>
                </c:pt>
                <c:pt idx="7">
                  <c:v>0.036044726251284624</c:v>
                </c:pt>
                <c:pt idx="8">
                  <c:v>0.03492194205287296</c:v>
                </c:pt>
                <c:pt idx="9">
                  <c:v>0.0328059277096025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Xtreme 2 Sensitive Disposable Razors 24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2 Sensitive Disposable Razors 12 Pack (2.7%)</c:v>
                </c:pt>
                <c:pt idx="1">
                  <c:v>Schick Xtreme 3 Sensitive Disposable Razors 4 Pack (2.8%)</c:v>
                </c:pt>
                <c:pt idx="2">
                  <c:v>Gillette Sensor 2 Pivot Head Disposable Razors 12 Pack (2.2%)</c:v>
                </c:pt>
                <c:pt idx="3">
                  <c:v>Gillette Sensor 2 Plus Disposable Razors 10 Pack (2.2%)</c:v>
                </c:pt>
                <c:pt idx="4">
                  <c:v>Bic Men Sensitive Single Blade Disposable Razors 12 Pack (5.7%)</c:v>
                </c:pt>
                <c:pt idx="5">
                  <c:v>Equate 2 Blade Disposable Razors 12 Pack (5.7%)</c:v>
                </c:pt>
                <c:pt idx="6">
                  <c:v>Equate 2 Blade Disposable Razors 5 Pack (5.5%)</c:v>
                </c:pt>
                <c:pt idx="7">
                  <c:v>Schick Xtreme 3 Sensitive Disposable Razors 8 Pack (1.7%)</c:v>
                </c:pt>
                <c:pt idx="8">
                  <c:v>Schick Xtreme 3 Sensitive Disposable Razors 12 Pack (0.9%)</c:v>
                </c:pt>
                <c:pt idx="9">
                  <c:v>None Razors (12.2%)</c:v>
                </c:pt>
              </c:strCache>
            </c:strRef>
          </c:cat>
          <c:val>
            <c:numRef>
              <c:f>Sheet1!$B$2:$B$11</c:f>
              <c:numCache>
                <c:formatCode>General</c:formatCode>
                <c:ptCount val="10"/>
                <c:pt idx="0">
                  <c:v>0.23336135364012453</c:v>
                </c:pt>
                <c:pt idx="1">
                  <c:v>0.0911405786875092</c:v>
                </c:pt>
                <c:pt idx="2">
                  <c:v>0.07254120828003695</c:v>
                </c:pt>
                <c:pt idx="3">
                  <c:v>0.05781487574594802</c:v>
                </c:pt>
                <c:pt idx="4">
                  <c:v>0.05504006313221757</c:v>
                </c:pt>
                <c:pt idx="5">
                  <c:v>0.05454066994349877</c:v>
                </c:pt>
                <c:pt idx="6">
                  <c:v>0.04742988925921545</c:v>
                </c:pt>
                <c:pt idx="7">
                  <c:v>0.040939231357976454</c:v>
                </c:pt>
                <c:pt idx="8">
                  <c:v>0.028168898282477116</c:v>
                </c:pt>
                <c:pt idx="9">
                  <c:v>0.02291006282944109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Xtreme 2 Sensitive Disposable Razors 24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2 Sensitive Disposable Razors 12 Pack (2.7%)</c:v>
                </c:pt>
                <c:pt idx="1">
                  <c:v>Schick Xtreme 3 Sensitive Disposable Razors 4 Pack (2.8%)</c:v>
                </c:pt>
                <c:pt idx="2">
                  <c:v>Bic Men Sensitive Single Blade Disposable Razors 12 Pack (5.7%)</c:v>
                </c:pt>
                <c:pt idx="3">
                  <c:v>Gillette Sensor 2 Pivot Head Disposable Razors 12 Pack (2.2%)</c:v>
                </c:pt>
                <c:pt idx="4">
                  <c:v>Equate 2 Blade Disposable Razors 12 Pack (5.7%)</c:v>
                </c:pt>
                <c:pt idx="5">
                  <c:v>Equate 2 Blade Disposable Razors 5 Pack (5.5%)</c:v>
                </c:pt>
                <c:pt idx="6">
                  <c:v>Gillette Sensor 2 Plus Disposable Razors 10 Pack (2.2%)</c:v>
                </c:pt>
                <c:pt idx="7">
                  <c:v>Schick Xtreme 3 Sensitive Disposable Razors 8 Pack (1.7%)</c:v>
                </c:pt>
                <c:pt idx="8">
                  <c:v>Schick Xtreme 3 Sensitive Disposable Razors 12 Pack (0.9%)</c:v>
                </c:pt>
                <c:pt idx="9">
                  <c:v>Bic Men Sensitive Twin Blade Disposable Razors 10 Pack (1.3%)</c:v>
                </c:pt>
              </c:strCache>
            </c:strRef>
          </c:cat>
          <c:val>
            <c:numRef>
              <c:f>Sheet1!$B$2:$B$11</c:f>
              <c:numCache>
                <c:formatCode>General</c:formatCode>
                <c:ptCount val="10"/>
                <c:pt idx="0">
                  <c:v>0.20332764220636132</c:v>
                </c:pt>
                <c:pt idx="1">
                  <c:v>0.08975945672717744</c:v>
                </c:pt>
                <c:pt idx="2">
                  <c:v>0.06709472496865033</c:v>
                </c:pt>
                <c:pt idx="3">
                  <c:v>0.0644889678133478</c:v>
                </c:pt>
                <c:pt idx="4">
                  <c:v>0.05758642979300605</c:v>
                </c:pt>
                <c:pt idx="5">
                  <c:v>0.04752566095448796</c:v>
                </c:pt>
                <c:pt idx="6">
                  <c:v>0.04676663156381032</c:v>
                </c:pt>
                <c:pt idx="7">
                  <c:v>0.04529026821847023</c:v>
                </c:pt>
                <c:pt idx="8">
                  <c:v>0.03338112586526614</c:v>
                </c:pt>
                <c:pt idx="9">
                  <c:v>0.0312872939501379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Xtreme 5 Sensitive Disposable Razors 2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Equate Speed 3 Disposable Razors 4 Pack (2.3%)</c:v>
                </c:pt>
                <c:pt idx="2">
                  <c:v>None Razors (12.2%)</c:v>
                </c:pt>
                <c:pt idx="3">
                  <c:v>Schick Xtreme 2 Sensitive Disposable Razors 12 Pack (2.7%)</c:v>
                </c:pt>
                <c:pt idx="4">
                  <c:v>Equate 2 Blade Disposable Razors 5 Pack (5.5%)</c:v>
                </c:pt>
                <c:pt idx="5">
                  <c:v>Bic Men Sensitive Single Blade Disposable Razors 12 Pack (5.7%)</c:v>
                </c:pt>
                <c:pt idx="6">
                  <c:v>Equate Caliber 5 Disposable Razors 3 Pack (2.2%)</c:v>
                </c:pt>
                <c:pt idx="7">
                  <c:v>Equate 2 Blade Disposable Razors 12 Pack (5.7%)</c:v>
                </c:pt>
                <c:pt idx="8">
                  <c:v>Bic Comfort 3 Sensitive Skin Disposable Razors 4 Pack (2.0%)</c:v>
                </c:pt>
                <c:pt idx="9">
                  <c:v>Gillette Mach 3 Sensitive Skin Disposable Razors 3 Pack (2.4%)</c:v>
                </c:pt>
              </c:strCache>
            </c:strRef>
          </c:cat>
          <c:val>
            <c:numRef>
              <c:f>Sheet1!$B$2:$B$11</c:f>
              <c:numCache>
                <c:formatCode>General</c:formatCode>
                <c:ptCount val="10"/>
                <c:pt idx="0">
                  <c:v>0.10949133835034391</c:v>
                </c:pt>
                <c:pt idx="1">
                  <c:v>0.0679628429394188</c:v>
                </c:pt>
                <c:pt idx="2">
                  <c:v>0.059998046840583234</c:v>
                </c:pt>
                <c:pt idx="3">
                  <c:v>0.0592363892731014</c:v>
                </c:pt>
                <c:pt idx="4">
                  <c:v>0.05742965792625658</c:v>
                </c:pt>
                <c:pt idx="5">
                  <c:v>0.05500898090684532</c:v>
                </c:pt>
                <c:pt idx="6">
                  <c:v>0.05203974310648236</c:v>
                </c:pt>
                <c:pt idx="7">
                  <c:v>0.04982009731880151</c:v>
                </c:pt>
                <c:pt idx="8">
                  <c:v>0.04583695847310092</c:v>
                </c:pt>
                <c:pt idx="9">
                  <c:v>0.04457416788864007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Xtreme 5 Sensitive Disposable Razors 2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2 Sensitive Disposable Razors 12 Pack (2.7%)</c:v>
                </c:pt>
                <c:pt idx="2">
                  <c:v>Equate Speed 3 Disposable Razors 4 Pack (2.3%)</c:v>
                </c:pt>
                <c:pt idx="3">
                  <c:v>Gillette Mach 3 Sensitive Skin Disposable Razors 3 Pack (2.4%)</c:v>
                </c:pt>
                <c:pt idx="4">
                  <c:v>Bic Flex 4 Sensitive Skin Disposable Razors 3 Pack (1.7%)</c:v>
                </c:pt>
                <c:pt idx="5">
                  <c:v>Equate Caliber 5 Disposable Razors 3 Pack (2.2%)</c:v>
                </c:pt>
                <c:pt idx="6">
                  <c:v>None Razors (12.2%)</c:v>
                </c:pt>
                <c:pt idx="7">
                  <c:v>Bic Men Sensitive Single Blade Disposable Razors 12 Pack (5.7%)</c:v>
                </c:pt>
                <c:pt idx="8">
                  <c:v>Equate Speed 3 Disposable Razors 8 Pack (1.9%)</c:v>
                </c:pt>
                <c:pt idx="9">
                  <c:v>Bic Comfort 3 Sensitive Skin Disposable Razors 4 Pack (2.0%)</c:v>
                </c:pt>
              </c:strCache>
            </c:strRef>
          </c:cat>
          <c:val>
            <c:numRef>
              <c:f>Sheet1!$B$2:$B$11</c:f>
              <c:numCache>
                <c:formatCode>General</c:formatCode>
                <c:ptCount val="10"/>
                <c:pt idx="0">
                  <c:v>0.1584044272096789</c:v>
                </c:pt>
                <c:pt idx="1">
                  <c:v>0.09612218636436576</c:v>
                </c:pt>
                <c:pt idx="2">
                  <c:v>0.06816035806020593</c:v>
                </c:pt>
                <c:pt idx="3">
                  <c:v>0.06332671171109035</c:v>
                </c:pt>
                <c:pt idx="4">
                  <c:v>0.04682589441598263</c:v>
                </c:pt>
                <c:pt idx="5">
                  <c:v>0.04643076351068313</c:v>
                </c:pt>
                <c:pt idx="6">
                  <c:v>0.04375583015206341</c:v>
                </c:pt>
                <c:pt idx="7">
                  <c:v>0.041921233089245315</c:v>
                </c:pt>
                <c:pt idx="8">
                  <c:v>0.036258882393372695</c:v>
                </c:pt>
                <c:pt idx="9">
                  <c:v>0.0359509084110246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Xtreme 5 Sensitive Disposable Razors 4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2 Sensitive Disposable Razors 12 Pack (2.7%)</c:v>
                </c:pt>
                <c:pt idx="2">
                  <c:v>Schick Xtreme 3 Sensitive Disposable Razors 8 Pack (1.7%)</c:v>
                </c:pt>
                <c:pt idx="3">
                  <c:v>Gillette Mach 3 Sensitive Skin Disposable Razors 3 Pack (2.4%)</c:v>
                </c:pt>
                <c:pt idx="4">
                  <c:v>Equate Speed 3 Disposable Razors 4 Pack (2.3%)</c:v>
                </c:pt>
                <c:pt idx="5">
                  <c:v>Schick Hydro 5 Blade Sensitive 1 Handle + 3 Cartridges (2.0%)</c:v>
                </c:pt>
                <c:pt idx="6">
                  <c:v>Gillette Sensor 3 Sensitive Disposable Razors 4 Pack (2.3%)</c:v>
                </c:pt>
                <c:pt idx="7">
                  <c:v>None Razors (12.2%)</c:v>
                </c:pt>
                <c:pt idx="8">
                  <c:v>Bic Flex 4 Sensitive Skin Disposable Razors 3 Pack (1.7%)</c:v>
                </c:pt>
                <c:pt idx="9">
                  <c:v>Equate Caliber 5 Disposable Razors 3 Pack (2.2%)</c:v>
                </c:pt>
              </c:strCache>
            </c:strRef>
          </c:cat>
          <c:val>
            <c:numRef>
              <c:f>Sheet1!$B$2:$B$11</c:f>
              <c:numCache>
                <c:formatCode>General</c:formatCode>
                <c:ptCount val="10"/>
                <c:pt idx="0">
                  <c:v>0.13287899060904398</c:v>
                </c:pt>
                <c:pt idx="1">
                  <c:v>0.07359862132411031</c:v>
                </c:pt>
                <c:pt idx="2">
                  <c:v>0.06045703204297074</c:v>
                </c:pt>
                <c:pt idx="3">
                  <c:v>0.05196866215445328</c:v>
                </c:pt>
                <c:pt idx="4">
                  <c:v>0.04565061687832584</c:v>
                </c:pt>
                <c:pt idx="5">
                  <c:v>0.04241781694855268</c:v>
                </c:pt>
                <c:pt idx="6">
                  <c:v>0.04117150365242682</c:v>
                </c:pt>
                <c:pt idx="7">
                  <c:v>0.038161390920297626</c:v>
                </c:pt>
                <c:pt idx="8">
                  <c:v>0.035147078157988294</c:v>
                </c:pt>
                <c:pt idx="9">
                  <c:v>0.0333582643155742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Xtreme 5 Sensitive Disposable Razors 4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3 Sensitive Disposable Razors 8 Pack (1.7%)</c:v>
                </c:pt>
                <c:pt idx="2">
                  <c:v>Schick Xtreme 2 Sensitive Disposable Razors 12 Pack (2.7%)</c:v>
                </c:pt>
                <c:pt idx="3">
                  <c:v>Schick Hydro 5 Blade Sensitive 1 Handle + 3 Cartridges (2.0%)</c:v>
                </c:pt>
                <c:pt idx="4">
                  <c:v>None Razors (12.2%)</c:v>
                </c:pt>
                <c:pt idx="5">
                  <c:v>Gillette Mach 3 Sensitive Skin Disposable Razors 3 Pack (2.4%)</c:v>
                </c:pt>
                <c:pt idx="6">
                  <c:v>Gillette Sensor 3 Sensitive Disposable Razors 4 Pack (2.3%)</c:v>
                </c:pt>
                <c:pt idx="7">
                  <c:v>Equate Speed 3 Disposable Razors 4 Pack (2.3%)</c:v>
                </c:pt>
                <c:pt idx="8">
                  <c:v>Bic Flex 4 Sensitive Skin Disposable Razors 3 Pack (1.7%)</c:v>
                </c:pt>
                <c:pt idx="9">
                  <c:v>Equate 2 Blade Disposable Razors 12 Pack (5.7%)</c:v>
                </c:pt>
              </c:strCache>
            </c:strRef>
          </c:cat>
          <c:val>
            <c:numRef>
              <c:f>Sheet1!$B$2:$B$11</c:f>
              <c:numCache>
                <c:formatCode>General</c:formatCode>
                <c:ptCount val="10"/>
                <c:pt idx="0">
                  <c:v>0.10987624571931266</c:v>
                </c:pt>
                <c:pt idx="1">
                  <c:v>0.06970405151081871</c:v>
                </c:pt>
                <c:pt idx="2">
                  <c:v>0.05766875516534276</c:v>
                </c:pt>
                <c:pt idx="3">
                  <c:v>0.053284367467936335</c:v>
                </c:pt>
                <c:pt idx="4">
                  <c:v>0.04810532332257451</c:v>
                </c:pt>
                <c:pt idx="5">
                  <c:v>0.042036718323609036</c:v>
                </c:pt>
                <c:pt idx="6">
                  <c:v>0.0367462819741781</c:v>
                </c:pt>
                <c:pt idx="7">
                  <c:v>0.03258701754262706</c:v>
                </c:pt>
                <c:pt idx="8">
                  <c:v>0.03249403126649729</c:v>
                </c:pt>
                <c:pt idx="9">
                  <c:v>0.0323144609471622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Xtreme 5 Sensitive Disposable Razors 8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3 Sensitive Disposable Razors 8 Pack (1.7%)</c:v>
                </c:pt>
                <c:pt idx="2">
                  <c:v>Schick Xtreme 2 Sensitive Disposable Razors 12 Pack (2.7%)</c:v>
                </c:pt>
                <c:pt idx="3">
                  <c:v>Schick Xtreme 3 Sensitive Disposable Razors 12 Pack (0.9%)</c:v>
                </c:pt>
                <c:pt idx="4">
                  <c:v>None Razors (12.2%)</c:v>
                </c:pt>
                <c:pt idx="5">
                  <c:v>Gillette Sensor 3 Sensitive Disposable Razors 12 Pack (1.6%)</c:v>
                </c:pt>
                <c:pt idx="6">
                  <c:v>Equate 2 Blade Disposable Razors 12 Pack (5.7%)</c:v>
                </c:pt>
                <c:pt idx="7">
                  <c:v>Gillette Mach 3 Sensitive Skin Disposable Razors 3 Pack (2.4%)</c:v>
                </c:pt>
                <c:pt idx="8">
                  <c:v>Gillette Sensor 3 Sensitive Disposable Razors 4 Pack (2.3%)</c:v>
                </c:pt>
                <c:pt idx="9">
                  <c:v>Gillette Sensor 3 Disposable Razors 12 Pack (1.6%)</c:v>
                </c:pt>
              </c:strCache>
            </c:strRef>
          </c:cat>
          <c:val>
            <c:numRef>
              <c:f>Sheet1!$B$2:$B$11</c:f>
              <c:numCache>
                <c:formatCode>General</c:formatCode>
                <c:ptCount val="10"/>
                <c:pt idx="0">
                  <c:v>0.105804563099734</c:v>
                </c:pt>
                <c:pt idx="1">
                  <c:v>0.09307720805858091</c:v>
                </c:pt>
                <c:pt idx="2">
                  <c:v>0.07827453672769014</c:v>
                </c:pt>
                <c:pt idx="3">
                  <c:v>0.058065754701642755</c:v>
                </c:pt>
                <c:pt idx="4">
                  <c:v>0.04193979691926123</c:v>
                </c:pt>
                <c:pt idx="5">
                  <c:v>0.04175531843920092</c:v>
                </c:pt>
                <c:pt idx="6">
                  <c:v>0.03927197332907877</c:v>
                </c:pt>
                <c:pt idx="7">
                  <c:v>0.033488803455787725</c:v>
                </c:pt>
                <c:pt idx="8">
                  <c:v>0.02919633503233604</c:v>
                </c:pt>
                <c:pt idx="9">
                  <c:v>0.02852597802531955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Xtreme 5 Sensitive Disposable Razors 8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3 Sensitive Disposable Razors 8 Pack (1.7%)</c:v>
                </c:pt>
                <c:pt idx="2">
                  <c:v>Schick Xtreme 2 Sensitive Disposable Razors 12 Pack (2.7%)</c:v>
                </c:pt>
                <c:pt idx="3">
                  <c:v>Schick Xtreme 3 Sensitive Disposable Razors 12 Pack (0.9%)</c:v>
                </c:pt>
                <c:pt idx="4">
                  <c:v>None Razors (12.2%)</c:v>
                </c:pt>
                <c:pt idx="5">
                  <c:v>Gillette Sensor 3 Sensitive Disposable Razors 12 Pack (1.6%)</c:v>
                </c:pt>
                <c:pt idx="6">
                  <c:v>Schick Hydro 5 Blade Sensitive 1 Handle + 3 Cartridges (2.0%)</c:v>
                </c:pt>
                <c:pt idx="7">
                  <c:v>Gillette Mach 3 Sensitive Skin Disposable Razors 3 Pack (2.4%)</c:v>
                </c:pt>
                <c:pt idx="8">
                  <c:v>Gillette Sensor 3 Disposable Razors 12 Pack (1.6%)</c:v>
                </c:pt>
                <c:pt idx="9">
                  <c:v>Gillette Sensor 3 Sensitive Disposable Razors 8 Pack (1.8%)</c:v>
                </c:pt>
              </c:strCache>
            </c:strRef>
          </c:cat>
          <c:val>
            <c:numRef>
              <c:f>Sheet1!$B$2:$B$11</c:f>
              <c:numCache>
                <c:formatCode>General</c:formatCode>
                <c:ptCount val="10"/>
                <c:pt idx="0">
                  <c:v>0.09774959271585537</c:v>
                </c:pt>
                <c:pt idx="1">
                  <c:v>0.0958485031511414</c:v>
                </c:pt>
                <c:pt idx="2">
                  <c:v>0.07414970388463676</c:v>
                </c:pt>
                <c:pt idx="3">
                  <c:v>0.05664727957025495</c:v>
                </c:pt>
                <c:pt idx="4">
                  <c:v>0.04638017240952417</c:v>
                </c:pt>
                <c:pt idx="5">
                  <c:v>0.041874991665449696</c:v>
                </c:pt>
                <c:pt idx="6">
                  <c:v>0.036696569859532915</c:v>
                </c:pt>
                <c:pt idx="7">
                  <c:v>0.03388315739176117</c:v>
                </c:pt>
                <c:pt idx="8">
                  <c:v>0.030295007801491414</c:v>
                </c:pt>
                <c:pt idx="9">
                  <c:v>0.0291198431198410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Xtreme 3 Sensitive Disposable Razors 4 Pack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Speed 3 Disposable Razors 4 Pack (2.3%)</c:v>
                </c:pt>
                <c:pt idx="1">
                  <c:v>Equate 2 Blade Disposable Razors 5 Pack (5.5%)</c:v>
                </c:pt>
                <c:pt idx="2">
                  <c:v>Equate 2 Blade Disposable Razors 12 Pack (5.7%)</c:v>
                </c:pt>
                <c:pt idx="3">
                  <c:v>Schick Xtreme 2 Sensitive Disposable Razors 12 Pack (2.7%)</c:v>
                </c:pt>
                <c:pt idx="4">
                  <c:v>Equate Caliber 5 Disposable Razors 3 Pack (2.2%)</c:v>
                </c:pt>
                <c:pt idx="5">
                  <c:v>Bic Comfort 3 Sensitive Skin Disposable Razors 4 Pack (2.0%)</c:v>
                </c:pt>
                <c:pt idx="6">
                  <c:v>Equate Caliber 3 Disposable Razors 3 Pack (1.4%)</c:v>
                </c:pt>
                <c:pt idx="7">
                  <c:v>Gillette Mach 3 Sensitive Skin Disposable Razors 3 Pack (2.4%)</c:v>
                </c:pt>
                <c:pt idx="8">
                  <c:v>Bic Men Sensitive Single Blade Disposable Razors 12 Pack (5.7%)</c:v>
                </c:pt>
                <c:pt idx="9">
                  <c:v>Bic Flex 4 Sensitive Skin Disposable Razors 3 Pack (1.7%)</c:v>
                </c:pt>
              </c:strCache>
            </c:strRef>
          </c:cat>
          <c:val>
            <c:numRef>
              <c:f>Sheet1!$B$2:$B$11</c:f>
              <c:numCache>
                <c:formatCode>General</c:formatCode>
                <c:ptCount val="10"/>
                <c:pt idx="0">
                  <c:v>0.08637930477320964</c:v>
                </c:pt>
                <c:pt idx="1">
                  <c:v>0.08413338829513672</c:v>
                </c:pt>
                <c:pt idx="2">
                  <c:v>0.08100340295709522</c:v>
                </c:pt>
                <c:pt idx="3">
                  <c:v>0.06501027659657843</c:v>
                </c:pt>
                <c:pt idx="4">
                  <c:v>0.0615088363675255</c:v>
                </c:pt>
                <c:pt idx="5">
                  <c:v>0.05921776272692039</c:v>
                </c:pt>
                <c:pt idx="6">
                  <c:v>0.0570360074039998</c:v>
                </c:pt>
                <c:pt idx="7">
                  <c:v>0.0449462269343537</c:v>
                </c:pt>
                <c:pt idx="8">
                  <c:v>0.04232357186214684</c:v>
                </c:pt>
                <c:pt idx="9">
                  <c:v>0.04220426780129818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Schick</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Gillet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Harr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Dollar Shave Club</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Van Der Hage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7</c:f>
              <c:numCache>
                <c:formatCode>General</c:formatCode>
                <c:ptCount val="6"/>
                <c:pt idx="0">
                  <c:v>-0.41722825444411493</c:v>
                </c:pt>
                <c:pt idx="1">
                  <c:v>-1.1109924222915777</c:v>
                </c:pt>
                <c:pt idx="2">
                  <c:v>-0.41438224508638155</c:v>
                </c:pt>
                <c:pt idx="3">
                  <c:v>-0.4379357942381187</c:v>
                </c:pt>
                <c:pt idx="4">
                  <c:v>-0.97260547540819</c:v>
                </c:pt>
                <c:pt idx="5">
                  <c:v>-0.351559095751539</c:v>
                </c:pt>
              </c:numCache>
            </c:numRef>
          </c:xVal>
          <c:yVal>
            <c:numRef>
              <c:f>Sheet1!$B$2:$B$7</c:f>
              <c:numCache>
                <c:formatCode>General</c:formatCode>
                <c:ptCount val="6"/>
                <c:pt idx="0">
                  <c:v>-1.2679346378378265</c:v>
                </c:pt>
                <c:pt idx="1">
                  <c:v>-0.8277326663136292</c:v>
                </c:pt>
                <c:pt idx="2">
                  <c:v>-0.38393006316894</c:v>
                </c:pt>
                <c:pt idx="3">
                  <c:v>-0.36912763310545094</c:v>
                </c:pt>
                <c:pt idx="4">
                  <c:v>-0.7288489656116754</c:v>
                </c:pt>
                <c:pt idx="5">
                  <c:v>-0.23484618082110975</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Xtreme 3 Sensitive Disposable Razors 4 Pack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2 Sensitive Disposable Razors 12 Pack (2.7%)</c:v>
                </c:pt>
                <c:pt idx="1">
                  <c:v>Equate Speed 3 Disposable Razors 4 Pack (2.3%)</c:v>
                </c:pt>
                <c:pt idx="2">
                  <c:v>Gillette Mach 3 Sensitive Skin Disposable Razors 3 Pack (2.4%)</c:v>
                </c:pt>
                <c:pt idx="3">
                  <c:v>Equate Caliber 5 Disposable Razors 3 Pack (2.2%)</c:v>
                </c:pt>
                <c:pt idx="4">
                  <c:v>Equate 2 Blade Disposable Razors 12 Pack (5.7%)</c:v>
                </c:pt>
                <c:pt idx="5">
                  <c:v>Equate 2 Blade Disposable Razors 5 Pack (5.5%)</c:v>
                </c:pt>
                <c:pt idx="6">
                  <c:v>Bic Flex 4 Sensitive Skin Disposable Razors 3 Pack (1.7%)</c:v>
                </c:pt>
                <c:pt idx="7">
                  <c:v>Schick Xtreme 3 Sensitive Disposable Razors 8 Pack (1.7%)</c:v>
                </c:pt>
                <c:pt idx="8">
                  <c:v>Bic Comfort 3 Sensitive Skin Disposable Razors 4 Pack (2.0%)</c:v>
                </c:pt>
                <c:pt idx="9">
                  <c:v>Equate Caliber 3 Disposable Razors 3 Pack (1.4%)</c:v>
                </c:pt>
              </c:strCache>
            </c:strRef>
          </c:cat>
          <c:val>
            <c:numRef>
              <c:f>Sheet1!$B$2:$B$11</c:f>
              <c:numCache>
                <c:formatCode>General</c:formatCode>
                <c:ptCount val="10"/>
                <c:pt idx="0">
                  <c:v>0.11368442940416866</c:v>
                </c:pt>
                <c:pt idx="1">
                  <c:v>0.08770933785695394</c:v>
                </c:pt>
                <c:pt idx="2">
                  <c:v>0.0683426544806551</c:v>
                </c:pt>
                <c:pt idx="3">
                  <c:v>0.05909880317750795</c:v>
                </c:pt>
                <c:pt idx="4">
                  <c:v>0.05334655329112719</c:v>
                </c:pt>
                <c:pt idx="5">
                  <c:v>0.05162174698438114</c:v>
                </c:pt>
                <c:pt idx="6">
                  <c:v>0.05027728351229986</c:v>
                </c:pt>
                <c:pt idx="7">
                  <c:v>0.04951172063767436</c:v>
                </c:pt>
                <c:pt idx="8">
                  <c:v>0.04808375392739482</c:v>
                </c:pt>
                <c:pt idx="9">
                  <c:v>0.0450326195694503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Xtreme 3 Sensitive Disposable Razors 8 Pack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2 Sensitive Disposable Razors 12 Pack (2.7%)</c:v>
                </c:pt>
                <c:pt idx="2">
                  <c:v>Gillette Mach 3 Sensitive Skin Disposable Razors 3 Pack (2.4%)</c:v>
                </c:pt>
                <c:pt idx="3">
                  <c:v>Equate Speed 3 Disposable Razors 4 Pack (2.3%)</c:v>
                </c:pt>
                <c:pt idx="4">
                  <c:v>Bic Flex 4 Sensitive Skin Disposable Razors 3 Pack (1.7%)</c:v>
                </c:pt>
                <c:pt idx="5">
                  <c:v>Gillette Sensor 3 Sensitive Disposable Razors 4 Pack (2.3%)</c:v>
                </c:pt>
                <c:pt idx="6">
                  <c:v>Schick Hydro 5 Blade Sensitive 1 Handle + 3 Cartridges (2.0%)</c:v>
                </c:pt>
                <c:pt idx="7">
                  <c:v>Bic Comfort 3 Sensitive Skin Disposable Razors 4 Pack (2.0%)</c:v>
                </c:pt>
                <c:pt idx="8">
                  <c:v>Equate Speed 3 Disposable Razors 8 Pack (1.9%)</c:v>
                </c:pt>
                <c:pt idx="9">
                  <c:v>Equate Caliber 5 Disposable Razors 3 Pack (2.2%)</c:v>
                </c:pt>
              </c:strCache>
            </c:strRef>
          </c:cat>
          <c:val>
            <c:numRef>
              <c:f>Sheet1!$B$2:$B$11</c:f>
              <c:numCache>
                <c:formatCode>General</c:formatCode>
                <c:ptCount val="10"/>
                <c:pt idx="0">
                  <c:v>0.16969985116032923</c:v>
                </c:pt>
                <c:pt idx="1">
                  <c:v>0.08623088557877208</c:v>
                </c:pt>
                <c:pt idx="2">
                  <c:v>0.07770043241862894</c:v>
                </c:pt>
                <c:pt idx="3">
                  <c:v>0.06848786869425899</c:v>
                </c:pt>
                <c:pt idx="4">
                  <c:v>0.05142447491726233</c:v>
                </c:pt>
                <c:pt idx="5">
                  <c:v>0.04625576070720268</c:v>
                </c:pt>
                <c:pt idx="6">
                  <c:v>0.04410468190110392</c:v>
                </c:pt>
                <c:pt idx="7">
                  <c:v>0.03843752264227405</c:v>
                </c:pt>
                <c:pt idx="8">
                  <c:v>0.038082403400609824</c:v>
                </c:pt>
                <c:pt idx="9">
                  <c:v>0.0343465427953956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Xtreme 3 Sensitive Disposable Razors 8 Pack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2 Sensitive Disposable Razors 12 Pack (2.7%)</c:v>
                </c:pt>
                <c:pt idx="2">
                  <c:v>Gillette Mach 3 Sensitive Skin Disposable Razors 3 Pack (2.4%)</c:v>
                </c:pt>
                <c:pt idx="3">
                  <c:v>Schick Hydro 5 Blade Sensitive 1 Handle + 3 Cartridges (2.0%)</c:v>
                </c:pt>
                <c:pt idx="4">
                  <c:v>Bic Flex 4 Sensitive Skin Disposable Razors 3 Pack (1.7%)</c:v>
                </c:pt>
                <c:pt idx="5">
                  <c:v>Equate Speed 3 Disposable Razors 4 Pack (2.3%)</c:v>
                </c:pt>
                <c:pt idx="6">
                  <c:v>Gillette Sensor 3 Sensitive Disposable Razors 4 Pack (2.3%)</c:v>
                </c:pt>
                <c:pt idx="7">
                  <c:v>Bic Comfort 3 Sensitive Skin Disposable Razors 4 Pack (2.0%)</c:v>
                </c:pt>
                <c:pt idx="8">
                  <c:v>Equate Speed 3 Disposable Razors 8 Pack (1.9%)</c:v>
                </c:pt>
                <c:pt idx="9">
                  <c:v>Gillette Mach 3 1 Handle + 2 Cartridges (2.7%)</c:v>
                </c:pt>
              </c:strCache>
            </c:strRef>
          </c:cat>
          <c:val>
            <c:numRef>
              <c:f>Sheet1!$B$2:$B$11</c:f>
              <c:numCache>
                <c:formatCode>General</c:formatCode>
                <c:ptCount val="10"/>
                <c:pt idx="0">
                  <c:v>0.13724074804050002</c:v>
                </c:pt>
                <c:pt idx="1">
                  <c:v>0.0793399551995319</c:v>
                </c:pt>
                <c:pt idx="2">
                  <c:v>0.06383722747415636</c:v>
                </c:pt>
                <c:pt idx="3">
                  <c:v>0.051738697304894755</c:v>
                </c:pt>
                <c:pt idx="4">
                  <c:v>0.04807835367493397</c:v>
                </c:pt>
                <c:pt idx="5">
                  <c:v>0.04703477916075369</c:v>
                </c:pt>
                <c:pt idx="6">
                  <c:v>0.043212824731299435</c:v>
                </c:pt>
                <c:pt idx="7">
                  <c:v>0.037605891198463214</c:v>
                </c:pt>
                <c:pt idx="8">
                  <c:v>0.032434101283579785</c:v>
                </c:pt>
                <c:pt idx="9">
                  <c:v>0.0301261642912178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Xtreme 3 Sensitive Disposable Razors 12 Pack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2 Sensitive Disposable Razors 12 Pack (2.7%)</c:v>
                </c:pt>
                <c:pt idx="1">
                  <c:v>Schick Xtreme 3 Sensitive Disposable Razors 4 Pack (2.8%)</c:v>
                </c:pt>
                <c:pt idx="2">
                  <c:v>Schick Xtreme 3 Sensitive Disposable Razors 8 Pack (1.7%)</c:v>
                </c:pt>
                <c:pt idx="3">
                  <c:v>Equate Speed 3 Disposable Razors 8 Pack (1.9%)</c:v>
                </c:pt>
                <c:pt idx="4">
                  <c:v>None Razors (12.2%)</c:v>
                </c:pt>
                <c:pt idx="5">
                  <c:v>Bic Men Sensitive Single Blade Disposable Razors 12 Pack (5.7%)</c:v>
                </c:pt>
                <c:pt idx="6">
                  <c:v>Gillette Sensor 3 Sensitive Disposable Razors 12 Pack (1.6%)</c:v>
                </c:pt>
                <c:pt idx="7">
                  <c:v>Equate 2 Blade Disposable Razors 12 Pack (5.7%)</c:v>
                </c:pt>
                <c:pt idx="8">
                  <c:v>Equate Speed 3 Disposable Razors 4 Pack (2.3%)</c:v>
                </c:pt>
                <c:pt idx="9">
                  <c:v>Gillette Mach 3 Sensitive Skin Disposable Razors 3 Pack (2.4%)</c:v>
                </c:pt>
              </c:strCache>
            </c:strRef>
          </c:cat>
          <c:val>
            <c:numRef>
              <c:f>Sheet1!$B$2:$B$11</c:f>
              <c:numCache>
                <c:formatCode>General</c:formatCode>
                <c:ptCount val="10"/>
                <c:pt idx="0">
                  <c:v>0.128798594086781</c:v>
                </c:pt>
                <c:pt idx="1">
                  <c:v>0.11234493538158305</c:v>
                </c:pt>
                <c:pt idx="2">
                  <c:v>0.07769394973703309</c:v>
                </c:pt>
                <c:pt idx="3">
                  <c:v>0.04125995346062712</c:v>
                </c:pt>
                <c:pt idx="4">
                  <c:v>0.03917733592142515</c:v>
                </c:pt>
                <c:pt idx="5">
                  <c:v>0.0391429095938992</c:v>
                </c:pt>
                <c:pt idx="6">
                  <c:v>0.03903500573015178</c:v>
                </c:pt>
                <c:pt idx="7">
                  <c:v>0.03885505113740068</c:v>
                </c:pt>
                <c:pt idx="8">
                  <c:v>0.03801344877066462</c:v>
                </c:pt>
                <c:pt idx="9">
                  <c:v>0.037508076996745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Xtreme 3 Sensitive Disposable Razors 12 Pack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2 Sensitive Disposable Razors 12 Pack (2.7%)</c:v>
                </c:pt>
                <c:pt idx="1">
                  <c:v>Schick Xtreme 3 Sensitive Disposable Razors 4 Pack (2.8%)</c:v>
                </c:pt>
                <c:pt idx="2">
                  <c:v>Schick Xtreme 3 Sensitive Disposable Razors 8 Pack (1.7%)</c:v>
                </c:pt>
                <c:pt idx="3">
                  <c:v>Gillette Sensor 3 Sensitive Disposable Razors 12 Pack (1.6%)</c:v>
                </c:pt>
                <c:pt idx="4">
                  <c:v>None Razors (12.2%)</c:v>
                </c:pt>
                <c:pt idx="5">
                  <c:v>Equate 2 Blade Disposable Razors 12 Pack (5.7%)</c:v>
                </c:pt>
                <c:pt idx="6">
                  <c:v>Equate Speed 3 Disposable Razors 8 Pack (1.9%)</c:v>
                </c:pt>
                <c:pt idx="7">
                  <c:v>Gillette Sensor 3 Sensitive Disposable Razors 8 Pack (1.8%)</c:v>
                </c:pt>
                <c:pt idx="8">
                  <c:v>Equate Speed 3 Disposable Razors 4 Pack (2.3%)</c:v>
                </c:pt>
                <c:pt idx="9">
                  <c:v>Gillette Mach 3 Sensitive Skin Disposable Razors 3 Pack (2.4%)</c:v>
                </c:pt>
              </c:strCache>
            </c:strRef>
          </c:cat>
          <c:val>
            <c:numRef>
              <c:f>Sheet1!$B$2:$B$11</c:f>
              <c:numCache>
                <c:formatCode>General</c:formatCode>
                <c:ptCount val="10"/>
                <c:pt idx="0">
                  <c:v>0.09796309742930272</c:v>
                </c:pt>
                <c:pt idx="1">
                  <c:v>0.09184973141187548</c:v>
                </c:pt>
                <c:pt idx="2">
                  <c:v>0.08022212479646461</c:v>
                </c:pt>
                <c:pt idx="3">
                  <c:v>0.06823559400702704</c:v>
                </c:pt>
                <c:pt idx="4">
                  <c:v>0.053143693446667445</c:v>
                </c:pt>
                <c:pt idx="5">
                  <c:v>0.041997170918534915</c:v>
                </c:pt>
                <c:pt idx="6">
                  <c:v>0.03586066752550114</c:v>
                </c:pt>
                <c:pt idx="7">
                  <c:v>0.03548780035547776</c:v>
                </c:pt>
                <c:pt idx="8">
                  <c:v>0.034587935439660274</c:v>
                </c:pt>
                <c:pt idx="9">
                  <c:v>0.0333676162791537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Xtreme 3 Body &amp; Groin Disposable Razors 3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2 Sensitive Disposable Razors 12 Pack (2.7%)</c:v>
                </c:pt>
                <c:pt idx="2">
                  <c:v>Schick Xtreme 3 Sensitive Disposable Razors 8 Pack (1.7%)</c:v>
                </c:pt>
                <c:pt idx="3">
                  <c:v>Gillette Mach 3 Sensitive Skin Disposable Razors 3 Pack (2.4%)</c:v>
                </c:pt>
                <c:pt idx="4">
                  <c:v>Equate 2 Blade Disposable Razors 5 Pack (5.5%)</c:v>
                </c:pt>
                <c:pt idx="5">
                  <c:v>Equate 2 Blade Disposable Razors 12 Pack (5.7%)</c:v>
                </c:pt>
                <c:pt idx="6">
                  <c:v>Equate Speed 3 Disposable Razors 4 Pack (2.3%)</c:v>
                </c:pt>
                <c:pt idx="7">
                  <c:v>Gillette Sensor 3 Sensitive Disposable Razors 4 Pack (2.3%)</c:v>
                </c:pt>
                <c:pt idx="8">
                  <c:v>Bic Comfort 3 Sensitive Skin Disposable Razors 4 Pack (2.0%)</c:v>
                </c:pt>
                <c:pt idx="9">
                  <c:v>None Razors (12.2%)</c:v>
                </c:pt>
              </c:strCache>
            </c:strRef>
          </c:cat>
          <c:val>
            <c:numRef>
              <c:f>Sheet1!$B$2:$B$11</c:f>
              <c:numCache>
                <c:formatCode>General</c:formatCode>
                <c:ptCount val="10"/>
                <c:pt idx="0">
                  <c:v>0.1470441539560403</c:v>
                </c:pt>
                <c:pt idx="1">
                  <c:v>0.07867477899883436</c:v>
                </c:pt>
                <c:pt idx="2">
                  <c:v>0.05575106105929473</c:v>
                </c:pt>
                <c:pt idx="3">
                  <c:v>0.05137317689225163</c:v>
                </c:pt>
                <c:pt idx="4">
                  <c:v>0.04799921129765441</c:v>
                </c:pt>
                <c:pt idx="5">
                  <c:v>0.04703872545375661</c:v>
                </c:pt>
                <c:pt idx="6">
                  <c:v>0.0444223015523377</c:v>
                </c:pt>
                <c:pt idx="7">
                  <c:v>0.036756926542997954</c:v>
                </c:pt>
                <c:pt idx="8">
                  <c:v>0.03493084093152758</c:v>
                </c:pt>
                <c:pt idx="9">
                  <c:v>0.0346862550289087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Xtreme 3 Body &amp; Groin Disposable Razors 3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2 Sensitive Disposable Razors 12 Pack (2.7%)</c:v>
                </c:pt>
                <c:pt idx="2">
                  <c:v>Gillette Mach 3 Sensitive Skin Disposable Razors 3 Pack (2.4%)</c:v>
                </c:pt>
                <c:pt idx="3">
                  <c:v>Schick Xtreme 3 Sensitive Disposable Razors 8 Pack (1.7%)</c:v>
                </c:pt>
                <c:pt idx="4">
                  <c:v>Schick Hydro 5 Blade Sensitive 1 Handle + 3 Cartridges (2.0%)</c:v>
                </c:pt>
                <c:pt idx="5">
                  <c:v>Equate 2 Blade Disposable Razors 5 Pack (5.5%)</c:v>
                </c:pt>
                <c:pt idx="6">
                  <c:v>Equate Speed 3 Disposable Razors 4 Pack (2.3%)</c:v>
                </c:pt>
                <c:pt idx="7">
                  <c:v>None Razors (12.2%)</c:v>
                </c:pt>
                <c:pt idx="8">
                  <c:v>Bic Flex 4 Sensitive Skin Disposable Razors 3 Pack (1.7%)</c:v>
                </c:pt>
                <c:pt idx="9">
                  <c:v>Gillette Sensor 3 Sensitive Disposable Razors 4 Pack (2.3%)</c:v>
                </c:pt>
              </c:strCache>
            </c:strRef>
          </c:cat>
          <c:val>
            <c:numRef>
              <c:f>Sheet1!$B$2:$B$11</c:f>
              <c:numCache>
                <c:formatCode>General</c:formatCode>
                <c:ptCount val="10"/>
                <c:pt idx="0">
                  <c:v>0.13717778794179308</c:v>
                </c:pt>
                <c:pt idx="1">
                  <c:v>0.0721623330710486</c:v>
                </c:pt>
                <c:pt idx="2">
                  <c:v>0.054777406767934786</c:v>
                </c:pt>
                <c:pt idx="3">
                  <c:v>0.05321731875893801</c:v>
                </c:pt>
                <c:pt idx="4">
                  <c:v>0.04903790075072772</c:v>
                </c:pt>
                <c:pt idx="5">
                  <c:v>0.045432506521735264</c:v>
                </c:pt>
                <c:pt idx="6">
                  <c:v>0.0443251382101863</c:v>
                </c:pt>
                <c:pt idx="7">
                  <c:v>0.03890909974009974</c:v>
                </c:pt>
                <c:pt idx="8">
                  <c:v>0.03775786349726872</c:v>
                </c:pt>
                <c:pt idx="9">
                  <c:v>0.0375262251831547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Ultimate Comfort Disposable Razors 3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2 Sensitive Disposable Razors 12 Pack (2.7%)</c:v>
                </c:pt>
                <c:pt idx="2">
                  <c:v>Equate 2 Blade Disposable Razors 12 Pack (5.7%)</c:v>
                </c:pt>
                <c:pt idx="3">
                  <c:v>None Razors (12.2%)</c:v>
                </c:pt>
                <c:pt idx="4">
                  <c:v>Equate 2 Blade Disposable Razors 5 Pack (5.5%)</c:v>
                </c:pt>
                <c:pt idx="5">
                  <c:v>Schick Xtreme 3 Sensitive Disposable Razors 8 Pack (1.7%)</c:v>
                </c:pt>
                <c:pt idx="6">
                  <c:v>Schick Hydro 5 Blade Sensitive 1 Handle + 3 Cartridges (2.0%)</c:v>
                </c:pt>
                <c:pt idx="7">
                  <c:v>Gillette Mach 3 Sensitive Skin Disposable Razors 3 Pack (2.4%)</c:v>
                </c:pt>
                <c:pt idx="8">
                  <c:v>Gillette Sensor 3 Sensitive Disposable Razors 4 Pack (2.3%)</c:v>
                </c:pt>
                <c:pt idx="9">
                  <c:v>Equate Speed 3 Disposable Razors 4 Pack (2.3%)</c:v>
                </c:pt>
              </c:strCache>
            </c:strRef>
          </c:cat>
          <c:val>
            <c:numRef>
              <c:f>Sheet1!$B$2:$B$11</c:f>
              <c:numCache>
                <c:formatCode>General</c:formatCode>
                <c:ptCount val="10"/>
                <c:pt idx="0">
                  <c:v>0.14291045735380975</c:v>
                </c:pt>
                <c:pt idx="1">
                  <c:v>0.06528838952437736</c:v>
                </c:pt>
                <c:pt idx="2">
                  <c:v>0.0582992184469031</c:v>
                </c:pt>
                <c:pt idx="3">
                  <c:v>0.053667305882766664</c:v>
                </c:pt>
                <c:pt idx="4">
                  <c:v>0.049802110190202996</c:v>
                </c:pt>
                <c:pt idx="5">
                  <c:v>0.044783992546899</c:v>
                </c:pt>
                <c:pt idx="6">
                  <c:v>0.04332309302289538</c:v>
                </c:pt>
                <c:pt idx="7">
                  <c:v>0.042390202734584374</c:v>
                </c:pt>
                <c:pt idx="8">
                  <c:v>0.0404435736190479</c:v>
                </c:pt>
                <c:pt idx="9">
                  <c:v>0.0380607117153092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Ultimate Comfort Disposable Razors 3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Hydro 5 Blade Sensitive 1 Handle + 3 Cartridges (2.0%)</c:v>
                </c:pt>
                <c:pt idx="2">
                  <c:v>None Razors (12.2%)</c:v>
                </c:pt>
                <c:pt idx="3">
                  <c:v>Schick Xtreme 2 Sensitive Disposable Razors 12 Pack (2.7%)</c:v>
                </c:pt>
                <c:pt idx="4">
                  <c:v>Equate 2 Blade Disposable Razors 5 Pack (5.5%)</c:v>
                </c:pt>
                <c:pt idx="5">
                  <c:v>Gillette Mach 3 Sensitive Skin Disposable Razors 3 Pack (2.4%)</c:v>
                </c:pt>
                <c:pt idx="6">
                  <c:v>Schick Xtreme 3 Sensitive Disposable Razors 8 Pack (1.7%)</c:v>
                </c:pt>
                <c:pt idx="7">
                  <c:v>Equate 2 Blade Disposable Razors 12 Pack (5.7%)</c:v>
                </c:pt>
                <c:pt idx="8">
                  <c:v>Gillette Sensor 3 Sensitive Disposable Razors 4 Pack (2.3%)</c:v>
                </c:pt>
                <c:pt idx="9">
                  <c:v>Equate Speed 3 Disposable Razors 4 Pack (2.3%)</c:v>
                </c:pt>
              </c:strCache>
            </c:strRef>
          </c:cat>
          <c:val>
            <c:numRef>
              <c:f>Sheet1!$B$2:$B$11</c:f>
              <c:numCache>
                <c:formatCode>General</c:formatCode>
                <c:ptCount val="10"/>
                <c:pt idx="0">
                  <c:v>0.1351744907777278</c:v>
                </c:pt>
                <c:pt idx="1">
                  <c:v>0.06602523220499341</c:v>
                </c:pt>
                <c:pt idx="2">
                  <c:v>0.05805796387398555</c:v>
                </c:pt>
                <c:pt idx="3">
                  <c:v>0.05654070397472888</c:v>
                </c:pt>
                <c:pt idx="4">
                  <c:v>0.047738885765981814</c:v>
                </c:pt>
                <c:pt idx="5">
                  <c:v>0.04427869314131374</c:v>
                </c:pt>
                <c:pt idx="6">
                  <c:v>0.04269694699577807</c:v>
                </c:pt>
                <c:pt idx="7">
                  <c:v>0.04129852165490746</c:v>
                </c:pt>
                <c:pt idx="8">
                  <c:v>0.04119493841285747</c:v>
                </c:pt>
                <c:pt idx="9">
                  <c:v>0.0377733710483170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First 4 Blade Disposable Razors 3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5 Pack (5.5%)</c:v>
                </c:pt>
                <c:pt idx="1">
                  <c:v>Equate 2 Blade Disposable Razors 12 Pack (5.7%)</c:v>
                </c:pt>
                <c:pt idx="2">
                  <c:v>Bic Men Sensitive Single Blade Disposable Razors 12 Pack (5.7%)</c:v>
                </c:pt>
                <c:pt idx="3">
                  <c:v>Equate Speed 3 Disposable Razors 4 Pack (2.3%)</c:v>
                </c:pt>
                <c:pt idx="4">
                  <c:v>Schick Xtreme 3 Sensitive Disposable Razors 4 Pack (2.8%)</c:v>
                </c:pt>
                <c:pt idx="5">
                  <c:v>Equate Caliber 5 Disposable Razors 3 Pack (2.2%)</c:v>
                </c:pt>
                <c:pt idx="6">
                  <c:v>Schick Xtreme 2 Sensitive Disposable Razors 12 Pack (2.7%)</c:v>
                </c:pt>
                <c:pt idx="7">
                  <c:v>Equate Caliber 3 Disposable Razors 3 Pack (1.4%)</c:v>
                </c:pt>
                <c:pt idx="8">
                  <c:v>None Razors (12.2%)</c:v>
                </c:pt>
                <c:pt idx="9">
                  <c:v>Bic Comfort 3 Sensitive Skin Disposable Razors 4 Pack (2.0%)</c:v>
                </c:pt>
              </c:strCache>
            </c:strRef>
          </c:cat>
          <c:val>
            <c:numRef>
              <c:f>Sheet1!$B$2:$B$11</c:f>
              <c:numCache>
                <c:formatCode>General</c:formatCode>
                <c:ptCount val="10"/>
                <c:pt idx="0">
                  <c:v>0.09912307430149607</c:v>
                </c:pt>
                <c:pt idx="1">
                  <c:v>0.09755441782478913</c:v>
                </c:pt>
                <c:pt idx="2">
                  <c:v>0.0806818166426179</c:v>
                </c:pt>
                <c:pt idx="3">
                  <c:v>0.0745567062240714</c:v>
                </c:pt>
                <c:pt idx="4">
                  <c:v>0.06707482969177994</c:v>
                </c:pt>
                <c:pt idx="5">
                  <c:v>0.060053351929950795</c:v>
                </c:pt>
                <c:pt idx="6">
                  <c:v>0.05575314373754801</c:v>
                </c:pt>
                <c:pt idx="7">
                  <c:v>0.049174245491329115</c:v>
                </c:pt>
                <c:pt idx="8">
                  <c:v>0.04396006288267827</c:v>
                </c:pt>
                <c:pt idx="9">
                  <c:v>0.0432821719754540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Schick</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Gillet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Harr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Dollar Shave Club</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Van Der Hage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7</c:f>
              <c:numCache>
                <c:formatCode>General</c:formatCode>
                <c:ptCount val="6"/>
                <c:pt idx="0">
                  <c:v>-0.37914986068510365</c:v>
                </c:pt>
                <c:pt idx="1">
                  <c:v>-0.45988348508424276</c:v>
                </c:pt>
                <c:pt idx="2">
                  <c:v>-0.48547360744653784</c:v>
                </c:pt>
                <c:pt idx="3">
                  <c:v>-0.1667770976935357</c:v>
                </c:pt>
                <c:pt idx="4">
                  <c:v>-0.14248303967598658</c:v>
                </c:pt>
                <c:pt idx="5">
                  <c:v>-0.06334917176881337</c:v>
                </c:pt>
              </c:numCache>
            </c:numRef>
          </c:xVal>
          <c:yVal>
            <c:numRef>
              <c:f>Sheet1!$B$2:$B$7</c:f>
              <c:numCache>
                <c:formatCode>General</c:formatCode>
                <c:ptCount val="6"/>
                <c:pt idx="0">
                  <c:v>-0.36318392883819334</c:v>
                </c:pt>
                <c:pt idx="1">
                  <c:v>-0.4325956474974422</c:v>
                </c:pt>
                <c:pt idx="2">
                  <c:v>-0.37269314104717466</c:v>
                </c:pt>
                <c:pt idx="3">
                  <c:v>-0.4081648518005464</c:v>
                </c:pt>
                <c:pt idx="4">
                  <c:v>-0.12323583840873109</c:v>
                </c:pt>
                <c:pt idx="5">
                  <c:v>-0.0643956261581737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First 4 Blade Disposable Razors 3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Schick Xtreme 2 Sensitive Disposable Razors 12 Pack (2.7%)</c:v>
                </c:pt>
                <c:pt idx="2">
                  <c:v>Equate Speed 3 Disposable Razors 4 Pack (2.3%)</c:v>
                </c:pt>
                <c:pt idx="3">
                  <c:v>Bic Men Sensitive Single Blade Disposable Razors 12 Pack (5.7%)</c:v>
                </c:pt>
                <c:pt idx="4">
                  <c:v>Equate 2 Blade Disposable Razors 5 Pack (5.5%)</c:v>
                </c:pt>
                <c:pt idx="5">
                  <c:v>Equate 2 Blade Disposable Razors 12 Pack (5.7%)</c:v>
                </c:pt>
                <c:pt idx="6">
                  <c:v>Equate Caliber 5 Disposable Razors 3 Pack (2.2%)</c:v>
                </c:pt>
                <c:pt idx="7">
                  <c:v>Equate Speed 3 Disposable Razors 8 Pack (1.9%)</c:v>
                </c:pt>
                <c:pt idx="8">
                  <c:v>Equate Caliber 3 Disposable Razors 3 Pack (1.4%)</c:v>
                </c:pt>
                <c:pt idx="9">
                  <c:v>Bic Comfort 3 Sensitive Skin Disposable Razors 4 Pack (2.0%)</c:v>
                </c:pt>
              </c:strCache>
            </c:strRef>
          </c:cat>
          <c:val>
            <c:numRef>
              <c:f>Sheet1!$B$2:$B$11</c:f>
              <c:numCache>
                <c:formatCode>General</c:formatCode>
                <c:ptCount val="10"/>
                <c:pt idx="0">
                  <c:v>0.11591542974518901</c:v>
                </c:pt>
                <c:pt idx="1">
                  <c:v>0.10787483836280055</c:v>
                </c:pt>
                <c:pt idx="2">
                  <c:v>0.07814728226714378</c:v>
                </c:pt>
                <c:pt idx="3">
                  <c:v>0.07104152564951288</c:v>
                </c:pt>
                <c:pt idx="4">
                  <c:v>0.06048827194143602</c:v>
                </c:pt>
                <c:pt idx="5">
                  <c:v>0.058823489245934966</c:v>
                </c:pt>
                <c:pt idx="6">
                  <c:v>0.05526320053076425</c:v>
                </c:pt>
                <c:pt idx="7">
                  <c:v>0.04355569640182253</c:v>
                </c:pt>
                <c:pt idx="8">
                  <c:v>0.03956573078428163</c:v>
                </c:pt>
                <c:pt idx="9">
                  <c:v>0.0373449544646915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3 Blade Ultra Sensitive 1 Handle + 4 Cartridges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Equate Speed 3 Disposable Razors 4 Pack (2.3%)</c:v>
                </c:pt>
                <c:pt idx="2">
                  <c:v>Schick Xtreme 3 Sensitive Disposable Razors 4 Pack (2.8%)</c:v>
                </c:pt>
                <c:pt idx="3">
                  <c:v>None Blades (83.2%)</c:v>
                </c:pt>
                <c:pt idx="4">
                  <c:v>None Razors (12.2%)</c:v>
                </c:pt>
                <c:pt idx="5">
                  <c:v>Schick Xtreme 2 Sensitive Disposable Razors 12 Pack (2.7%)</c:v>
                </c:pt>
                <c:pt idx="6">
                  <c:v>Gillette Mach 3 Sensitive Skin Disposable Razors 3 Pack (2.4%)</c:v>
                </c:pt>
                <c:pt idx="7">
                  <c:v>Dollar Shave Club 6 1 Handle + 2 Blades (2.0%)</c:v>
                </c:pt>
                <c:pt idx="8">
                  <c:v>Gillette Mach 3 1 Handle + 2 Cartridges (2.7%)</c:v>
                </c:pt>
                <c:pt idx="9">
                  <c:v>Equate 2 Blade Disposable Razors 5 Pack (5.5%)</c:v>
                </c:pt>
              </c:strCache>
            </c:strRef>
          </c:cat>
          <c:val>
            <c:numRef>
              <c:f>Sheet1!$B$2:$B$11</c:f>
              <c:numCache>
                <c:formatCode>General</c:formatCode>
                <c:ptCount val="10"/>
                <c:pt idx="0">
                  <c:v>0.19906538711595004</c:v>
                </c:pt>
                <c:pt idx="1">
                  <c:v>0.10744373235545722</c:v>
                </c:pt>
                <c:pt idx="2">
                  <c:v>0.0745717061628347</c:v>
                </c:pt>
                <c:pt idx="3">
                  <c:v>0.06823848875892484</c:v>
                </c:pt>
                <c:pt idx="4">
                  <c:v>0.05545486633923504</c:v>
                </c:pt>
                <c:pt idx="5">
                  <c:v>0.04769762329202874</c:v>
                </c:pt>
                <c:pt idx="6">
                  <c:v>0.039560743975777614</c:v>
                </c:pt>
                <c:pt idx="7">
                  <c:v>0.03785472276974719</c:v>
                </c:pt>
                <c:pt idx="8">
                  <c:v>0.03520158505706151</c:v>
                </c:pt>
                <c:pt idx="9">
                  <c:v>0.0281219254313293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3 Blade Ultra Sensitive 1 Handle + 4 Cartridges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Equate Speed 3 Disposable Razors 4 Pack (2.3%)</c:v>
                </c:pt>
                <c:pt idx="2">
                  <c:v>None Blades (83.2%)</c:v>
                </c:pt>
                <c:pt idx="3">
                  <c:v>Schick Xtreme 3 Sensitive Disposable Razors 4 Pack (2.8%)</c:v>
                </c:pt>
                <c:pt idx="4">
                  <c:v>None Razors (12.2%)</c:v>
                </c:pt>
                <c:pt idx="5">
                  <c:v>Gillette Mach 3 1 Handle + 2 Cartridges (2.7%)</c:v>
                </c:pt>
                <c:pt idx="6">
                  <c:v>Dollar Shave Club 6 1 Handle + 2 Blades (2.0%)</c:v>
                </c:pt>
                <c:pt idx="7">
                  <c:v>Schick Xtreme 2 Sensitive Disposable Razors 12 Pack (2.7%)</c:v>
                </c:pt>
                <c:pt idx="8">
                  <c:v>Gillette Mach 3 Sensitive Skin Disposable Razors 3 Pack (2.4%)</c:v>
                </c:pt>
                <c:pt idx="9">
                  <c:v>Equate Easy Fit 5 blades 1 Handle + 2 Cartridges (1.1%)</c:v>
                </c:pt>
              </c:strCache>
            </c:strRef>
          </c:cat>
          <c:val>
            <c:numRef>
              <c:f>Sheet1!$B$2:$B$11</c:f>
              <c:numCache>
                <c:formatCode>General</c:formatCode>
                <c:ptCount val="10"/>
                <c:pt idx="0">
                  <c:v>0.2394888922538092</c:v>
                </c:pt>
                <c:pt idx="1">
                  <c:v>0.08592984951705346</c:v>
                </c:pt>
                <c:pt idx="2">
                  <c:v>0.06447192727400589</c:v>
                </c:pt>
                <c:pt idx="3">
                  <c:v>0.06273418267933181</c:v>
                </c:pt>
                <c:pt idx="4">
                  <c:v>0.06143549396140311</c:v>
                </c:pt>
                <c:pt idx="5">
                  <c:v>0.04855993990050797</c:v>
                </c:pt>
                <c:pt idx="6">
                  <c:v>0.04524880034818131</c:v>
                </c:pt>
                <c:pt idx="7">
                  <c:v>0.03844935476239006</c:v>
                </c:pt>
                <c:pt idx="8">
                  <c:v>0.03719563191348766</c:v>
                </c:pt>
                <c:pt idx="9">
                  <c:v>0.0313888189011004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3 Blade Pro Sensitive 1 Handle + 3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Schick Xtreme 3 Sensitive Disposable Razors 4 Pack (2.8%)</c:v>
                </c:pt>
                <c:pt idx="2">
                  <c:v>None Blades (83.2%)</c:v>
                </c:pt>
                <c:pt idx="3">
                  <c:v>Schick Xtreme 2 Sensitive Disposable Razors 12 Pack (2.7%)</c:v>
                </c:pt>
                <c:pt idx="4">
                  <c:v>Equate Speed 3 Disposable Razors 4 Pack (2.3%)</c:v>
                </c:pt>
                <c:pt idx="5">
                  <c:v>Gillette Mach 3 Sensitive Skin Disposable Razors 3 Pack (2.4%)</c:v>
                </c:pt>
                <c:pt idx="6">
                  <c:v>Gillette Mach 3 1 Handle + 2 Cartridges (2.7%)</c:v>
                </c:pt>
                <c:pt idx="7">
                  <c:v>None Razors (12.2%)</c:v>
                </c:pt>
                <c:pt idx="8">
                  <c:v>Schick Xtreme 3 Sensitive Disposable Razors 8 Pack (1.7%)</c:v>
                </c:pt>
                <c:pt idx="9">
                  <c:v>Equate 2 Blade Disposable Razors 5 Pack (5.5%)</c:v>
                </c:pt>
              </c:strCache>
            </c:strRef>
          </c:cat>
          <c:val>
            <c:numRef>
              <c:f>Sheet1!$B$2:$B$11</c:f>
              <c:numCache>
                <c:formatCode>General</c:formatCode>
                <c:ptCount val="10"/>
                <c:pt idx="0">
                  <c:v>0.15480497243424765</c:v>
                </c:pt>
                <c:pt idx="1">
                  <c:v>0.12073027164464352</c:v>
                </c:pt>
                <c:pt idx="2">
                  <c:v>0.07557454803235404</c:v>
                </c:pt>
                <c:pt idx="3">
                  <c:v>0.062388739634838174</c:v>
                </c:pt>
                <c:pt idx="4">
                  <c:v>0.052846525834168934</c:v>
                </c:pt>
                <c:pt idx="5">
                  <c:v>0.05037021184168055</c:v>
                </c:pt>
                <c:pt idx="6">
                  <c:v>0.04235072115674695</c:v>
                </c:pt>
                <c:pt idx="7">
                  <c:v>0.04094943667770965</c:v>
                </c:pt>
                <c:pt idx="8">
                  <c:v>0.03867647220621276</c:v>
                </c:pt>
                <c:pt idx="9">
                  <c:v>0.0326941796691030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3 Blade Pro Sensitive 1 Handle + 3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Schick Xtreme 3 Sensitive Disposable Razors 4 Pack (2.8%)</c:v>
                </c:pt>
                <c:pt idx="2">
                  <c:v>None Blades (83.2%)</c:v>
                </c:pt>
                <c:pt idx="3">
                  <c:v>Gillette Mach 3 1 Handle + 2 Cartridges (2.7%)</c:v>
                </c:pt>
                <c:pt idx="4">
                  <c:v>Gillette Mach 3 Sensitive Skin Disposable Razors 3 Pack (2.4%)</c:v>
                </c:pt>
                <c:pt idx="5">
                  <c:v>Schick Xtreme 2 Sensitive Disposable Razors 12 Pack (2.7%)</c:v>
                </c:pt>
                <c:pt idx="6">
                  <c:v>Equate Speed 3 Disposable Razors 4 Pack (2.3%)</c:v>
                </c:pt>
                <c:pt idx="7">
                  <c:v>None Razors (12.2%)</c:v>
                </c:pt>
                <c:pt idx="8">
                  <c:v>Schick Xtreme 3 Sensitive Disposable Razors 8 Pack (1.7%)</c:v>
                </c:pt>
                <c:pt idx="9">
                  <c:v>Dollar Shave Club 6 1 Handle + 2 Blades (2.0%)</c:v>
                </c:pt>
              </c:strCache>
            </c:strRef>
          </c:cat>
          <c:val>
            <c:numRef>
              <c:f>Sheet1!$B$2:$B$11</c:f>
              <c:numCache>
                <c:formatCode>General</c:formatCode>
                <c:ptCount val="10"/>
                <c:pt idx="0">
                  <c:v>0.20164216383255631</c:v>
                </c:pt>
                <c:pt idx="1">
                  <c:v>0.10018659481561959</c:v>
                </c:pt>
                <c:pt idx="2">
                  <c:v>0.07681050930076376</c:v>
                </c:pt>
                <c:pt idx="3">
                  <c:v>0.054310619609795364</c:v>
                </c:pt>
                <c:pt idx="4">
                  <c:v>0.05079671565067259</c:v>
                </c:pt>
                <c:pt idx="5">
                  <c:v>0.05019977573477613</c:v>
                </c:pt>
                <c:pt idx="6">
                  <c:v>0.04883316595762259</c:v>
                </c:pt>
                <c:pt idx="7">
                  <c:v>0.04143702476675626</c:v>
                </c:pt>
                <c:pt idx="8">
                  <c:v>0.036837218727895374</c:v>
                </c:pt>
                <c:pt idx="9">
                  <c:v>0.03555669375079703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3 Blade Ingrown Defense 1 Handle + 3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Schick Xtreme 3 Sensitive Disposable Razors 4 Pack (2.8%)</c:v>
                </c:pt>
                <c:pt idx="2">
                  <c:v>Dollar Shave Club 6 1 Handle + 2 Blades (2.0%)</c:v>
                </c:pt>
                <c:pt idx="3">
                  <c:v>None Razors (12.2%)</c:v>
                </c:pt>
                <c:pt idx="4">
                  <c:v>Schick Xtreme 2 Sensitive Disposable Razors 12 Pack (2.7%)</c:v>
                </c:pt>
                <c:pt idx="5">
                  <c:v>Gillette Mach 3 1 Handle + 2 Cartridges (2.7%)</c:v>
                </c:pt>
                <c:pt idx="6">
                  <c:v>None Blades (83.2%)</c:v>
                </c:pt>
                <c:pt idx="7">
                  <c:v>Equate Speed 3 Disposable Razors 4 Pack (2.3%)</c:v>
                </c:pt>
                <c:pt idx="8">
                  <c:v>Equate 2 Blade Disposable Razors 5 Pack (5.5%)</c:v>
                </c:pt>
                <c:pt idx="9">
                  <c:v>Equate 2 Blade Disposable Razors 12 Pack (5.7%)</c:v>
                </c:pt>
              </c:strCache>
            </c:strRef>
          </c:cat>
          <c:val>
            <c:numRef>
              <c:f>Sheet1!$B$2:$B$11</c:f>
              <c:numCache>
                <c:formatCode>General</c:formatCode>
                <c:ptCount val="10"/>
                <c:pt idx="0">
                  <c:v>0.14205900940606278</c:v>
                </c:pt>
                <c:pt idx="1">
                  <c:v>0.09353009439868876</c:v>
                </c:pt>
                <c:pt idx="2">
                  <c:v>0.06355038638803577</c:v>
                </c:pt>
                <c:pt idx="3">
                  <c:v>0.061364515496855794</c:v>
                </c:pt>
                <c:pt idx="4">
                  <c:v>0.06069672489340744</c:v>
                </c:pt>
                <c:pt idx="5">
                  <c:v>0.050764375529620286</c:v>
                </c:pt>
                <c:pt idx="6">
                  <c:v>0.04857944660311502</c:v>
                </c:pt>
                <c:pt idx="7">
                  <c:v>0.042685749097065774</c:v>
                </c:pt>
                <c:pt idx="8">
                  <c:v>0.03982405234655735</c:v>
                </c:pt>
                <c:pt idx="9">
                  <c:v>0.0335667346831100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3 Blade Ingrown Defense 1 Handle + 3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Schick Xtreme 3 Sensitive Disposable Razors 4 Pack (2.8%)</c:v>
                </c:pt>
                <c:pt idx="2">
                  <c:v>Dollar Shave Club 6 1 Handle + 2 Blades (2.0%)</c:v>
                </c:pt>
                <c:pt idx="3">
                  <c:v>None Razors (12.2%)</c:v>
                </c:pt>
                <c:pt idx="4">
                  <c:v>Gillette Mach 3 1 Handle + 2 Cartridges (2.7%)</c:v>
                </c:pt>
                <c:pt idx="5">
                  <c:v>Schick Xtreme 2 Sensitive Disposable Razors 12 Pack (2.7%)</c:v>
                </c:pt>
                <c:pt idx="6">
                  <c:v>None Blades (83.2%)</c:v>
                </c:pt>
                <c:pt idx="7">
                  <c:v>Equate Speed 3 Disposable Razors 4 Pack (2.3%)</c:v>
                </c:pt>
                <c:pt idx="8">
                  <c:v>Equate 2 Blade Disposable Razors 5 Pack (5.5%)</c:v>
                </c:pt>
                <c:pt idx="9">
                  <c:v>Gillette Mach 3 Sensitive Skin Disposable Razors 3 Pack (2.4%)</c:v>
                </c:pt>
              </c:strCache>
            </c:strRef>
          </c:cat>
          <c:val>
            <c:numRef>
              <c:f>Sheet1!$B$2:$B$11</c:f>
              <c:numCache>
                <c:formatCode>General</c:formatCode>
                <c:ptCount val="10"/>
                <c:pt idx="0">
                  <c:v>0.19407888434779982</c:v>
                </c:pt>
                <c:pt idx="1">
                  <c:v>0.07761829814841664</c:v>
                </c:pt>
                <c:pt idx="2">
                  <c:v>0.07152397381446243</c:v>
                </c:pt>
                <c:pt idx="3">
                  <c:v>0.0675080992023404</c:v>
                </c:pt>
                <c:pt idx="4">
                  <c:v>0.06280163622125459</c:v>
                </c:pt>
                <c:pt idx="5">
                  <c:v>0.04437703512631403</c:v>
                </c:pt>
                <c:pt idx="6">
                  <c:v>0.042521675182287506</c:v>
                </c:pt>
                <c:pt idx="7">
                  <c:v>0.036849312365413424</c:v>
                </c:pt>
                <c:pt idx="8">
                  <c:v>0.033226075458678506</c:v>
                </c:pt>
                <c:pt idx="9">
                  <c:v>0.0314669887071683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Advanced Hydration 1 Handle + 3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Schick Xtreme 3 Sensitive Disposable Razors 4 Pack (2.8%)</c:v>
                </c:pt>
                <c:pt idx="2">
                  <c:v>None Blades (83.2%)</c:v>
                </c:pt>
                <c:pt idx="3">
                  <c:v>None Razors (12.2%)</c:v>
                </c:pt>
                <c:pt idx="4">
                  <c:v>Schick Xtreme 2 Sensitive Disposable Razors 12 Pack (2.7%)</c:v>
                </c:pt>
                <c:pt idx="5">
                  <c:v>Dollar Shave Club 6 1 Handle + 2 Blades (2.0%)</c:v>
                </c:pt>
                <c:pt idx="6">
                  <c:v>Equate Speed 3 Disposable Razors 4 Pack (2.3%)</c:v>
                </c:pt>
                <c:pt idx="7">
                  <c:v>Gillette Mach 3 1 Handle + 2 Cartridges (2.7%)</c:v>
                </c:pt>
                <c:pt idx="8">
                  <c:v>Gillette Sensor 3 Sensitive Disposable Razors 4 Pack (2.3%)</c:v>
                </c:pt>
                <c:pt idx="9">
                  <c:v>Harry's 5 Blade 1 Handle + 2 Cartridges (3.9%)</c:v>
                </c:pt>
              </c:strCache>
            </c:strRef>
          </c:cat>
          <c:val>
            <c:numRef>
              <c:f>Sheet1!$B$2:$B$11</c:f>
              <c:numCache>
                <c:formatCode>General</c:formatCode>
                <c:ptCount val="10"/>
                <c:pt idx="0">
                  <c:v>0.1945354002757302</c:v>
                </c:pt>
                <c:pt idx="1">
                  <c:v>0.09878094335589296</c:v>
                </c:pt>
                <c:pt idx="2">
                  <c:v>0.07207693579309356</c:v>
                </c:pt>
                <c:pt idx="3">
                  <c:v>0.06432824591783488</c:v>
                </c:pt>
                <c:pt idx="4">
                  <c:v>0.06303807085574793</c:v>
                </c:pt>
                <c:pt idx="5">
                  <c:v>0.04179078544510468</c:v>
                </c:pt>
                <c:pt idx="6">
                  <c:v>0.03779115979112176</c:v>
                </c:pt>
                <c:pt idx="7">
                  <c:v>0.035290939520315465</c:v>
                </c:pt>
                <c:pt idx="8">
                  <c:v>0.03434028011410387</c:v>
                </c:pt>
                <c:pt idx="9">
                  <c:v>0.0311013132507613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Advanced Hydration 1 Handle + 3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Schick Xtreme 3 Sensitive Disposable Razors 4 Pack (2.8%)</c:v>
                </c:pt>
                <c:pt idx="2">
                  <c:v>None Razors (12.2%)</c:v>
                </c:pt>
                <c:pt idx="3">
                  <c:v>None Blades (83.2%)</c:v>
                </c:pt>
                <c:pt idx="4">
                  <c:v>Dollar Shave Club 6 1 Handle + 2 Blades (2.0%)</c:v>
                </c:pt>
                <c:pt idx="5">
                  <c:v>Schick Xtreme 2 Sensitive Disposable Razors 12 Pack (2.7%)</c:v>
                </c:pt>
                <c:pt idx="6">
                  <c:v>Gillette Mach 3 1 Handle + 2 Cartridges (2.7%)</c:v>
                </c:pt>
                <c:pt idx="7">
                  <c:v>Equate Speed 3 Disposable Razors 4 Pack (2.3%)</c:v>
                </c:pt>
                <c:pt idx="8">
                  <c:v>Equate Easy Fit 5 blades 1 Handle + 2 Cartridges (1.1%)</c:v>
                </c:pt>
                <c:pt idx="9">
                  <c:v>Gillette Sensor 3 Sensitive Disposable Razors 4 Pack (2.3%)</c:v>
                </c:pt>
              </c:strCache>
            </c:strRef>
          </c:cat>
          <c:val>
            <c:numRef>
              <c:f>Sheet1!$B$2:$B$11</c:f>
              <c:numCache>
                <c:formatCode>General</c:formatCode>
                <c:ptCount val="10"/>
                <c:pt idx="0">
                  <c:v>0.27646511237002425</c:v>
                </c:pt>
                <c:pt idx="1">
                  <c:v>0.07618988824728862</c:v>
                </c:pt>
                <c:pt idx="2">
                  <c:v>0.06898221413554778</c:v>
                </c:pt>
                <c:pt idx="3">
                  <c:v>0.06767477058756069</c:v>
                </c:pt>
                <c:pt idx="4">
                  <c:v>0.045528932829914194</c:v>
                </c:pt>
                <c:pt idx="5">
                  <c:v>0.04290043711290069</c:v>
                </c:pt>
                <c:pt idx="6">
                  <c:v>0.041314934168426895</c:v>
                </c:pt>
                <c:pt idx="7">
                  <c:v>0.032534678126889795</c:v>
                </c:pt>
                <c:pt idx="8">
                  <c:v>0.028293534342878214</c:v>
                </c:pt>
                <c:pt idx="9">
                  <c:v>0.02787072535807279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Sensitive 1 Handle + 3 Cartridges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Xtreme 3 Sensitive Disposable Razors 4 Pack (2.8%)</c:v>
                </c:pt>
                <c:pt idx="1">
                  <c:v>None Blades (83.2%)</c:v>
                </c:pt>
                <c:pt idx="2">
                  <c:v>None Razors (12.2%)</c:v>
                </c:pt>
                <c:pt idx="3">
                  <c:v>Equate Speed 3 Disposable Razors 4 Pack (2.3%)</c:v>
                </c:pt>
                <c:pt idx="4">
                  <c:v>Schick Xtreme 2 Sensitive Disposable Razors 12 Pack (2.7%)</c:v>
                </c:pt>
                <c:pt idx="5">
                  <c:v>Gillette Mach 3 1 Handle + 2 Cartridges (2.7%)</c:v>
                </c:pt>
                <c:pt idx="6">
                  <c:v>Schick Xtreme 3 Sensitive Disposable Razors 8 Pack (1.7%)</c:v>
                </c:pt>
                <c:pt idx="7">
                  <c:v>Gillette Mach 3 Sensitive Skin Disposable Razors 3 Pack (2.4%)</c:v>
                </c:pt>
                <c:pt idx="8">
                  <c:v>Dollar Shave Club 6 1 Handle + 2 Blades (2.0%)</c:v>
                </c:pt>
                <c:pt idx="9">
                  <c:v>Equate 2 Blade Disposable Razors 5 Pack (5.5%)</c:v>
                </c:pt>
              </c:strCache>
            </c:strRef>
          </c:cat>
          <c:val>
            <c:numRef>
              <c:f>Sheet1!$B$2:$B$11</c:f>
              <c:numCache>
                <c:formatCode>General</c:formatCode>
                <c:ptCount val="10"/>
                <c:pt idx="0">
                  <c:v>0.11204203072633086</c:v>
                </c:pt>
                <c:pt idx="1">
                  <c:v>0.09116353461149995</c:v>
                </c:pt>
                <c:pt idx="2">
                  <c:v>0.08689588833475866</c:v>
                </c:pt>
                <c:pt idx="3">
                  <c:v>0.07531346274787437</c:v>
                </c:pt>
                <c:pt idx="4">
                  <c:v>0.05909474054748694</c:v>
                </c:pt>
                <c:pt idx="5">
                  <c:v>0.040079460886340935</c:v>
                </c:pt>
                <c:pt idx="6">
                  <c:v>0.03926220584785632</c:v>
                </c:pt>
                <c:pt idx="7">
                  <c:v>0.03782037831931049</c:v>
                </c:pt>
                <c:pt idx="8">
                  <c:v>0.03744372733852501</c:v>
                </c:pt>
                <c:pt idx="9">
                  <c:v>0.03698378140619426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Schick (1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quate (21.7%)</c:v>
                </c:pt>
                <c:pt idx="1">
                  <c:v>Gillette (38.7%)</c:v>
                </c:pt>
                <c:pt idx="2">
                  <c:v>Bic (16.9%)</c:v>
                </c:pt>
                <c:pt idx="3">
                  <c:v>Dollar Shave Club (2.9%)</c:v>
                </c:pt>
                <c:pt idx="4">
                  <c:v>Harrys (11.2%)</c:v>
                </c:pt>
                <c:pt idx="5">
                  <c:v>Van Der Hagen (2.0%)</c:v>
                </c:pt>
              </c:strCache>
            </c:strRef>
          </c:cat>
          <c:val>
            <c:numRef>
              <c:f>Sheet1!$B$2:$B$7</c:f>
              <c:numCache>
                <c:formatCode>General</c:formatCode>
                <c:ptCount val="6"/>
                <c:pt idx="0">
                  <c:v>0.3679104459473376</c:v>
                </c:pt>
                <c:pt idx="1">
                  <c:v>0.29000450712867853</c:v>
                </c:pt>
                <c:pt idx="2">
                  <c:v>0.22226650379603805</c:v>
                </c:pt>
                <c:pt idx="3">
                  <c:v>0.018615745074919487</c:v>
                </c:pt>
                <c:pt idx="4">
                  <c:v>0.015421116036608657</c:v>
                </c:pt>
                <c:pt idx="5">
                  <c:v>0.002661725982095542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Sensitive 1 Handle + 3 Cartridges (2.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Xtreme 3 Sensitive Disposable Razors 4 Pack (2.8%)</c:v>
                </c:pt>
                <c:pt idx="2">
                  <c:v>None Razors (12.2%)</c:v>
                </c:pt>
                <c:pt idx="3">
                  <c:v>Equate Speed 3 Disposable Razors 4 Pack (2.3%)</c:v>
                </c:pt>
                <c:pt idx="4">
                  <c:v>Gillette Mach 3 1 Handle + 2 Cartridges (2.7%)</c:v>
                </c:pt>
                <c:pt idx="5">
                  <c:v>Dollar Shave Club 6 1 Handle + 2 Blades (2.0%)</c:v>
                </c:pt>
                <c:pt idx="6">
                  <c:v>Schick Xtreme 2 Sensitive Disposable Razors 12 Pack (2.7%)</c:v>
                </c:pt>
                <c:pt idx="7">
                  <c:v>Equate Easy Fit 5 blades 1 Handle + 2 Cartridges (1.1%)</c:v>
                </c:pt>
                <c:pt idx="8">
                  <c:v>Bic Flex 4 Sensitive Skin Disposable Razors 3 Pack (1.7%)</c:v>
                </c:pt>
                <c:pt idx="9">
                  <c:v>Schick Hydro 3 Blade Ultra Sensitive 1 Handle + 4 Cartridges (0.1%)</c:v>
                </c:pt>
              </c:strCache>
            </c:strRef>
          </c:cat>
          <c:val>
            <c:numRef>
              <c:f>Sheet1!$B$2:$B$11</c:f>
              <c:numCache>
                <c:formatCode>General</c:formatCode>
                <c:ptCount val="10"/>
                <c:pt idx="0">
                  <c:v>0.10233737209703563</c:v>
                </c:pt>
                <c:pt idx="1">
                  <c:v>0.10141657354242685</c:v>
                </c:pt>
                <c:pt idx="2">
                  <c:v>0.09081769444606132</c:v>
                </c:pt>
                <c:pt idx="3">
                  <c:v>0.06985431407423208</c:v>
                </c:pt>
                <c:pt idx="4">
                  <c:v>0.05669255008363416</c:v>
                </c:pt>
                <c:pt idx="5">
                  <c:v>0.05349783223539943</c:v>
                </c:pt>
                <c:pt idx="6">
                  <c:v>0.04852081650596108</c:v>
                </c:pt>
                <c:pt idx="7">
                  <c:v>0.04785940302939781</c:v>
                </c:pt>
                <c:pt idx="8">
                  <c:v>0.04255965000886323</c:v>
                </c:pt>
                <c:pt idx="9">
                  <c:v>0.0388419956326429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Sensitive 1 Handle + 5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None Razors (12.2%)</c:v>
                </c:pt>
                <c:pt idx="2">
                  <c:v>Schick Xtreme 3 Sensitive Disposable Razors 4 Pack (2.8%)</c:v>
                </c:pt>
                <c:pt idx="3">
                  <c:v>None Blades (83.2%)</c:v>
                </c:pt>
                <c:pt idx="4">
                  <c:v>Gillette Mach 3 1 Handle + 2 Cartridges (2.7%)</c:v>
                </c:pt>
                <c:pt idx="5">
                  <c:v>Schick Xtreme 3 Sensitive Disposable Razors 8 Pack (1.7%)</c:v>
                </c:pt>
                <c:pt idx="6">
                  <c:v>Schick Xtreme 2 Sensitive Disposable Razors 12 Pack (2.7%)</c:v>
                </c:pt>
                <c:pt idx="7">
                  <c:v>Bic Flex 4 Sensitive Skin Disposable Razors 3 Pack (1.7%)</c:v>
                </c:pt>
                <c:pt idx="8">
                  <c:v>Equate Speed 3 Disposable Razors 4 Pack (2.3%)</c:v>
                </c:pt>
                <c:pt idx="9">
                  <c:v>Gillette Mach 3 Sensitive Skin Disposable Razors 3 Pack (2.4%)</c:v>
                </c:pt>
              </c:strCache>
            </c:strRef>
          </c:cat>
          <c:val>
            <c:numRef>
              <c:f>Sheet1!$B$2:$B$11</c:f>
              <c:numCache>
                <c:formatCode>General</c:formatCode>
                <c:ptCount val="10"/>
                <c:pt idx="0">
                  <c:v>0.23805700948122782</c:v>
                </c:pt>
                <c:pt idx="1">
                  <c:v>0.12578946239967154</c:v>
                </c:pt>
                <c:pt idx="2">
                  <c:v>0.06563137990867757</c:v>
                </c:pt>
                <c:pt idx="3">
                  <c:v>0.04651421458817037</c:v>
                </c:pt>
                <c:pt idx="4">
                  <c:v>0.040968877865012146</c:v>
                </c:pt>
                <c:pt idx="5">
                  <c:v>0.03906535638996618</c:v>
                </c:pt>
                <c:pt idx="6">
                  <c:v>0.03795272079007794</c:v>
                </c:pt>
                <c:pt idx="7">
                  <c:v>0.030507238529668072</c:v>
                </c:pt>
                <c:pt idx="8">
                  <c:v>0.024640461737505434</c:v>
                </c:pt>
                <c:pt idx="9">
                  <c:v>0.0239860695055589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Sensitive 1 Handle + 5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None Razors (12.2%)</c:v>
                </c:pt>
                <c:pt idx="2">
                  <c:v>Schick Xtreme 3 Sensitive Disposable Razors 4 Pack (2.8%)</c:v>
                </c:pt>
                <c:pt idx="3">
                  <c:v>Schick Xtreme 3 Sensitive Disposable Razors 8 Pack (1.7%)</c:v>
                </c:pt>
                <c:pt idx="4">
                  <c:v>None Blades (83.2%)</c:v>
                </c:pt>
                <c:pt idx="5">
                  <c:v>Gillette Mach 3 1 Handle + 2 Cartridges (2.7%)</c:v>
                </c:pt>
                <c:pt idx="6">
                  <c:v>Schick Xtreme 2 Sensitive Disposable Razors 12 Pack (2.7%)</c:v>
                </c:pt>
                <c:pt idx="7">
                  <c:v>Dollar Shave Club 6 1 Handle + 2 Blades (2.0%)</c:v>
                </c:pt>
                <c:pt idx="8">
                  <c:v>Bic Flex 4 Sensitive Skin Disposable Razors 3 Pack (1.7%)</c:v>
                </c:pt>
                <c:pt idx="9">
                  <c:v>Equate Speed 3 Disposable Razors 4 Pack (2.3%)</c:v>
                </c:pt>
              </c:strCache>
            </c:strRef>
          </c:cat>
          <c:val>
            <c:numRef>
              <c:f>Sheet1!$B$2:$B$11</c:f>
              <c:numCache>
                <c:formatCode>General</c:formatCode>
                <c:ptCount val="10"/>
                <c:pt idx="0">
                  <c:v>0.23065118054228045</c:v>
                </c:pt>
                <c:pt idx="1">
                  <c:v>0.1350190076549204</c:v>
                </c:pt>
                <c:pt idx="2">
                  <c:v>0.05752208932296725</c:v>
                </c:pt>
                <c:pt idx="3">
                  <c:v>0.044269747703095844</c:v>
                </c:pt>
                <c:pt idx="4">
                  <c:v>0.039893682439100804</c:v>
                </c:pt>
                <c:pt idx="5">
                  <c:v>0.038043364365152064</c:v>
                </c:pt>
                <c:pt idx="6">
                  <c:v>0.03246972912087054</c:v>
                </c:pt>
                <c:pt idx="7">
                  <c:v>0.02369688117573555</c:v>
                </c:pt>
                <c:pt idx="8">
                  <c:v>0.023644928267681813</c:v>
                </c:pt>
                <c:pt idx="9">
                  <c:v>0.0234079836974923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Sensitive 1 Handle + 8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None Razors (12.2%)</c:v>
                </c:pt>
                <c:pt idx="2">
                  <c:v>Schick Xtreme 3 Sensitive Disposable Razors 8 Pack (1.7%)</c:v>
                </c:pt>
                <c:pt idx="3">
                  <c:v>Gillette Mach 3 1 Handle + 2 Cartridges (2.7%)</c:v>
                </c:pt>
                <c:pt idx="4">
                  <c:v>Schick Xtreme 3 Sensitive Disposable Razors 4 Pack (2.8%)</c:v>
                </c:pt>
                <c:pt idx="5">
                  <c:v>Schick Xtreme 2 Sensitive Disposable Razors 12 Pack (2.7%)</c:v>
                </c:pt>
                <c:pt idx="6">
                  <c:v>Gillette Fusion 5 1 Handle + 2 Cartridges (2.9%)</c:v>
                </c:pt>
                <c:pt idx="7">
                  <c:v>Gillette Fusion 5 1 Handle + 3 Cartridges Holiday Pack (1.7%)</c:v>
                </c:pt>
                <c:pt idx="8">
                  <c:v>Gillette Mach 3 1 Handle + 6 Cartridges (1.7%)</c:v>
                </c:pt>
                <c:pt idx="9">
                  <c:v>None Blades (83.2%)</c:v>
                </c:pt>
              </c:strCache>
            </c:strRef>
          </c:cat>
          <c:val>
            <c:numRef>
              <c:f>Sheet1!$B$2:$B$11</c:f>
              <c:numCache>
                <c:formatCode>General</c:formatCode>
                <c:ptCount val="10"/>
                <c:pt idx="0">
                  <c:v>0.24227034649786527</c:v>
                </c:pt>
                <c:pt idx="1">
                  <c:v>0.17562949440735137</c:v>
                </c:pt>
                <c:pt idx="2">
                  <c:v>0.05660310946656797</c:v>
                </c:pt>
                <c:pt idx="3">
                  <c:v>0.04285625593577</c:v>
                </c:pt>
                <c:pt idx="4">
                  <c:v>0.03952977958508671</c:v>
                </c:pt>
                <c:pt idx="5">
                  <c:v>0.02577631340046272</c:v>
                </c:pt>
                <c:pt idx="6">
                  <c:v>0.02553700319852253</c:v>
                </c:pt>
                <c:pt idx="7">
                  <c:v>0.02419424169634018</c:v>
                </c:pt>
                <c:pt idx="8">
                  <c:v>0.02316857120080361</c:v>
                </c:pt>
                <c:pt idx="9">
                  <c:v>0.0205688353304001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Sensitive 1 Handle + 8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None Razors (12.2%)</c:v>
                </c:pt>
                <c:pt idx="2">
                  <c:v>Gillette Mach 3 1 Handle + 2 Cartridges (2.7%)</c:v>
                </c:pt>
                <c:pt idx="3">
                  <c:v>Schick Xtreme 3 Sensitive Disposable Razors 8 Pack (1.7%)</c:v>
                </c:pt>
                <c:pt idx="4">
                  <c:v>Gillette Fusion 5 1 Handle + 2 Cartridges (2.9%)</c:v>
                </c:pt>
                <c:pt idx="5">
                  <c:v>Schick Xtreme 3 Sensitive Disposable Razors 4 Pack (2.8%)</c:v>
                </c:pt>
                <c:pt idx="6">
                  <c:v>Gillette Mach 3 1 Handle + 6 Cartridges (1.7%)</c:v>
                </c:pt>
                <c:pt idx="7">
                  <c:v>Gillette Fusion 5 1 Handle + 3 Cartridges Holiday Pack (1.7%)</c:v>
                </c:pt>
                <c:pt idx="8">
                  <c:v>Equate Easy Fit 5 blades 1 Handle + 2 Cartridges (1.1%)</c:v>
                </c:pt>
                <c:pt idx="9">
                  <c:v>Schick Xtreme 2 Sensitive Disposable Razors 12 Pack (2.7%)</c:v>
                </c:pt>
              </c:strCache>
            </c:strRef>
          </c:cat>
          <c:val>
            <c:numRef>
              <c:f>Sheet1!$B$2:$B$11</c:f>
              <c:numCache>
                <c:formatCode>General</c:formatCode>
                <c:ptCount val="10"/>
                <c:pt idx="0">
                  <c:v>0.27139988751604033</c:v>
                </c:pt>
                <c:pt idx="1">
                  <c:v>0.176948731572841</c:v>
                </c:pt>
                <c:pt idx="2">
                  <c:v>0.05068604519763382</c:v>
                </c:pt>
                <c:pt idx="3">
                  <c:v>0.04947567415727333</c:v>
                </c:pt>
                <c:pt idx="4">
                  <c:v>0.03214478701861629</c:v>
                </c:pt>
                <c:pt idx="5">
                  <c:v>0.03050838774130041</c:v>
                </c:pt>
                <c:pt idx="6">
                  <c:v>0.028179619504566083</c:v>
                </c:pt>
                <c:pt idx="7">
                  <c:v>0.028045151530998468</c:v>
                </c:pt>
                <c:pt idx="8">
                  <c:v>0.019399586603080086</c:v>
                </c:pt>
                <c:pt idx="9">
                  <c:v>0.01902120349868960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Chrome 1 Handle + 3 Cartridges + Docking Station/Stand + Travel Cover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None Razors (12.2%)</c:v>
                </c:pt>
                <c:pt idx="2">
                  <c:v>Gillette Mach 3 1 Handle + 2 Cartridges (2.7%)</c:v>
                </c:pt>
                <c:pt idx="3">
                  <c:v>Schick Xtreme 3 Sensitive Disposable Razors 8 Pack (1.7%)</c:v>
                </c:pt>
                <c:pt idx="4">
                  <c:v>Schick Xtreme 3 Sensitive Disposable Razors 4 Pack (2.8%)</c:v>
                </c:pt>
                <c:pt idx="5">
                  <c:v>Gillette Fusion 5 1 Handle + 2 Cartridges (2.9%)</c:v>
                </c:pt>
                <c:pt idx="6">
                  <c:v>Gillette Mach 3 1 Handle + 6 Cartridges (1.7%)</c:v>
                </c:pt>
                <c:pt idx="7">
                  <c:v>None Blades (83.2%)</c:v>
                </c:pt>
                <c:pt idx="8">
                  <c:v>Gillette Fusion 5 1 Handle + 3 Cartridges Holiday Pack (1.7%)</c:v>
                </c:pt>
                <c:pt idx="9">
                  <c:v>Harry's 5 Blade 1 Handle + 2 Cartridges (3.9%)</c:v>
                </c:pt>
              </c:strCache>
            </c:strRef>
          </c:cat>
          <c:val>
            <c:numRef>
              <c:f>Sheet1!$B$2:$B$11</c:f>
              <c:numCache>
                <c:formatCode>General</c:formatCode>
                <c:ptCount val="10"/>
                <c:pt idx="0">
                  <c:v>0.17723626907142126</c:v>
                </c:pt>
                <c:pt idx="1">
                  <c:v>0.122521469584596</c:v>
                </c:pt>
                <c:pt idx="2">
                  <c:v>0.06813532713331065</c:v>
                </c:pt>
                <c:pt idx="3">
                  <c:v>0.05059190230166599</c:v>
                </c:pt>
                <c:pt idx="4">
                  <c:v>0.03958381294617943</c:v>
                </c:pt>
                <c:pt idx="5">
                  <c:v>0.03425312422034359</c:v>
                </c:pt>
                <c:pt idx="6">
                  <c:v>0.03210930871158005</c:v>
                </c:pt>
                <c:pt idx="7">
                  <c:v>0.025991512752997038</c:v>
                </c:pt>
                <c:pt idx="8">
                  <c:v>0.025238030860692685</c:v>
                </c:pt>
                <c:pt idx="9">
                  <c:v>0.02078878801663018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Chrome 1 Handle + 3 Cartridges + Docking Station/Stand + Travel Cover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None Razors (12.2%)</c:v>
                </c:pt>
                <c:pt idx="2">
                  <c:v>Gillette Mach 3 1 Handle + 2 Cartridges (2.7%)</c:v>
                </c:pt>
                <c:pt idx="3">
                  <c:v>Schick Xtreme 3 Sensitive Disposable Razors 8 Pack (1.7%)</c:v>
                </c:pt>
                <c:pt idx="4">
                  <c:v>Gillette Fusion 5 1 Handle + 2 Cartridges (2.9%)</c:v>
                </c:pt>
                <c:pt idx="5">
                  <c:v>Gillette Mach 3 1 Handle + 6 Cartridges (1.7%)</c:v>
                </c:pt>
                <c:pt idx="6">
                  <c:v>Schick Xtreme 3 Sensitive Disposable Razors 4 Pack (2.8%)</c:v>
                </c:pt>
                <c:pt idx="7">
                  <c:v>Gillette Fusion 5 1 Handle + 3 Cartridges Holiday Pack (1.7%)</c:v>
                </c:pt>
                <c:pt idx="8">
                  <c:v>Gillette Mach 3 Blade Refills 4 Pack (1.3%)</c:v>
                </c:pt>
                <c:pt idx="9">
                  <c:v>Harry's 5 Blade 1 Handle + 2 Cartridges (3.9%)</c:v>
                </c:pt>
              </c:strCache>
            </c:strRef>
          </c:cat>
          <c:val>
            <c:numRef>
              <c:f>Sheet1!$B$2:$B$11</c:f>
              <c:numCache>
                <c:formatCode>General</c:formatCode>
                <c:ptCount val="10"/>
                <c:pt idx="0">
                  <c:v>0.19639061684252085</c:v>
                </c:pt>
                <c:pt idx="1">
                  <c:v>0.12156336640814712</c:v>
                </c:pt>
                <c:pt idx="2">
                  <c:v>0.07822532535866446</c:v>
                </c:pt>
                <c:pt idx="3">
                  <c:v>0.04280170873046036</c:v>
                </c:pt>
                <c:pt idx="4">
                  <c:v>0.04249069683983981</c:v>
                </c:pt>
                <c:pt idx="5">
                  <c:v>0.038877553640305464</c:v>
                </c:pt>
                <c:pt idx="6">
                  <c:v>0.031088179221792862</c:v>
                </c:pt>
                <c:pt idx="7">
                  <c:v>0.029350076953330303</c:v>
                </c:pt>
                <c:pt idx="8">
                  <c:v>0.02430770893566751</c:v>
                </c:pt>
                <c:pt idx="9">
                  <c:v>0.0240251161378073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Groomer 1 Handle + 1 Cartridge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None Razors (12.2%)</c:v>
                </c:pt>
                <c:pt idx="2">
                  <c:v>Gillette Mach 3 1 Handle + 2 Cartridges (2.7%)</c:v>
                </c:pt>
                <c:pt idx="3">
                  <c:v>Schick Xtreme 3 Sensitive Disposable Razors 4 Pack (2.8%)</c:v>
                </c:pt>
                <c:pt idx="4">
                  <c:v>Harry's 5 Blade 1 Handle + 2 Cartridges (3.9%)</c:v>
                </c:pt>
                <c:pt idx="5">
                  <c:v>Dollar Shave Club 6 1 Handle + 2 Blades (2.0%)</c:v>
                </c:pt>
                <c:pt idx="6">
                  <c:v>Equate 2 Blade Disposable Razors 12 Pack (5.7%)</c:v>
                </c:pt>
                <c:pt idx="7">
                  <c:v>Equate 2 Blade Disposable Razors 5 Pack (5.5%)</c:v>
                </c:pt>
                <c:pt idx="8">
                  <c:v>Equate Easy Fit 5 blades 1 Handle + 2 Cartridges (1.1%)</c:v>
                </c:pt>
                <c:pt idx="9">
                  <c:v>Schick Xtreme 3 Sensitive Disposable Razors 8 Pack (1.7%)</c:v>
                </c:pt>
              </c:strCache>
            </c:strRef>
          </c:cat>
          <c:val>
            <c:numRef>
              <c:f>Sheet1!$B$2:$B$11</c:f>
              <c:numCache>
                <c:formatCode>General</c:formatCode>
                <c:ptCount val="10"/>
                <c:pt idx="0">
                  <c:v>0.19459225970129354</c:v>
                </c:pt>
                <c:pt idx="1">
                  <c:v>0.17041323584690524</c:v>
                </c:pt>
                <c:pt idx="2">
                  <c:v>0.039252690506220524</c:v>
                </c:pt>
                <c:pt idx="3">
                  <c:v>0.03854747509825162</c:v>
                </c:pt>
                <c:pt idx="4">
                  <c:v>0.034234971131558135</c:v>
                </c:pt>
                <c:pt idx="5">
                  <c:v>0.032356500118168624</c:v>
                </c:pt>
                <c:pt idx="6">
                  <c:v>0.030360887398844665</c:v>
                </c:pt>
                <c:pt idx="7">
                  <c:v>0.029679874606835056</c:v>
                </c:pt>
                <c:pt idx="8">
                  <c:v>0.026796291771588394</c:v>
                </c:pt>
                <c:pt idx="9">
                  <c:v>0.0265144970510027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Groomer 1 Handle + 1 Cartridge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Razors (12.2%)</c:v>
                </c:pt>
                <c:pt idx="1">
                  <c:v>Schick Hydro 5 Blade Sensitive 1 Handle + 3 Cartridges (2.0%)</c:v>
                </c:pt>
                <c:pt idx="2">
                  <c:v>Harry's 5 Blade 1 Handle + 2 Cartridges (3.9%)</c:v>
                </c:pt>
                <c:pt idx="3">
                  <c:v>Gillette Mach 3 1 Handle + 2 Cartridges (2.7%)</c:v>
                </c:pt>
                <c:pt idx="4">
                  <c:v>Dollar Shave Club 6 1 Handle + 2 Blades (2.0%)</c:v>
                </c:pt>
                <c:pt idx="5">
                  <c:v>Schick Xtreme 3 Sensitive Disposable Razors 4 Pack (2.8%)</c:v>
                </c:pt>
                <c:pt idx="6">
                  <c:v>Harry's 5 Blade 1 Handle + 5 Cartridges (2.3%)</c:v>
                </c:pt>
                <c:pt idx="7">
                  <c:v>Equate Easy Fit 5 blades 1 Handle + 2 Cartridges (1.1%)</c:v>
                </c:pt>
                <c:pt idx="8">
                  <c:v>Schick Xtreme 3 Sensitive Disposable Razors 8 Pack (1.7%)</c:v>
                </c:pt>
                <c:pt idx="9">
                  <c:v>Gillette Fusion 5 1 Handle + 2 Cartridges (2.9%)</c:v>
                </c:pt>
              </c:strCache>
            </c:strRef>
          </c:cat>
          <c:val>
            <c:numRef>
              <c:f>Sheet1!$B$2:$B$11</c:f>
              <c:numCache>
                <c:formatCode>General</c:formatCode>
                <c:ptCount val="10"/>
                <c:pt idx="0">
                  <c:v>0.1768194453365763</c:v>
                </c:pt>
                <c:pt idx="1">
                  <c:v>0.17262644326558896</c:v>
                </c:pt>
                <c:pt idx="2">
                  <c:v>0.06141736242548806</c:v>
                </c:pt>
                <c:pt idx="3">
                  <c:v>0.036431625561711055</c:v>
                </c:pt>
                <c:pt idx="4">
                  <c:v>0.03451019627042295</c:v>
                </c:pt>
                <c:pt idx="5">
                  <c:v>0.03252419325147384</c:v>
                </c:pt>
                <c:pt idx="6">
                  <c:v>0.029241611812056832</c:v>
                </c:pt>
                <c:pt idx="7">
                  <c:v>0.02760513665293367</c:v>
                </c:pt>
                <c:pt idx="8">
                  <c:v>0.027028246382027485</c:v>
                </c:pt>
                <c:pt idx="9">
                  <c:v>0.02636963716987087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Quattro Four Blade 1 Handle + 4 Cartri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Razors (12.2%)</c:v>
                </c:pt>
                <c:pt idx="1">
                  <c:v>Schick Hydro 5 Blade Sensitive 1 Handle + 3 Cartridges (2.0%)</c:v>
                </c:pt>
                <c:pt idx="2">
                  <c:v>Equate 2 Blade Disposable Razors 5 Pack (5.5%)</c:v>
                </c:pt>
                <c:pt idx="3">
                  <c:v>Equate 2 Blade Disposable Razors 12 Pack (5.7%)</c:v>
                </c:pt>
                <c:pt idx="4">
                  <c:v>Dollar Shave Club 6 1 Handle + 2 Blades (2.0%)</c:v>
                </c:pt>
                <c:pt idx="5">
                  <c:v>Equate Speed 3 Disposable Razors 4 Pack (2.3%)</c:v>
                </c:pt>
                <c:pt idx="6">
                  <c:v>Equate Easy Fit 5 blades 1 Handle + 2 Cartridges (1.1%)</c:v>
                </c:pt>
                <c:pt idx="7">
                  <c:v>Schick Xtreme 3 Sensitive Disposable Razors 4 Pack (2.8%)</c:v>
                </c:pt>
                <c:pt idx="8">
                  <c:v>Equate Caliber 5 Disposable Razors 3 Pack (2.2%)</c:v>
                </c:pt>
                <c:pt idx="9">
                  <c:v>Schick Xtreme 2 Sensitive Disposable Razors 12 Pack (2.7%)</c:v>
                </c:pt>
              </c:strCache>
            </c:strRef>
          </c:cat>
          <c:val>
            <c:numRef>
              <c:f>Sheet1!$B$2:$B$11</c:f>
              <c:numCache>
                <c:formatCode>General</c:formatCode>
                <c:ptCount val="10"/>
                <c:pt idx="0">
                  <c:v>0.14246055789943496</c:v>
                </c:pt>
                <c:pt idx="1">
                  <c:v>0.1359042829134674</c:v>
                </c:pt>
                <c:pt idx="2">
                  <c:v>0.0807865284460373</c:v>
                </c:pt>
                <c:pt idx="3">
                  <c:v>0.07416602543271539</c:v>
                </c:pt>
                <c:pt idx="4">
                  <c:v>0.05919567482125648</c:v>
                </c:pt>
                <c:pt idx="5">
                  <c:v>0.04287814536857814</c:v>
                </c:pt>
                <c:pt idx="6">
                  <c:v>0.03769599224149188</c:v>
                </c:pt>
                <c:pt idx="7">
                  <c:v>0.036153222539978776</c:v>
                </c:pt>
                <c:pt idx="8">
                  <c:v>0.03225128442964434</c:v>
                </c:pt>
                <c:pt idx="9">
                  <c:v>0.02782608625347791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Schick (1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quate (21.7%)</c:v>
                </c:pt>
                <c:pt idx="1">
                  <c:v>Gillette (38.7%)</c:v>
                </c:pt>
                <c:pt idx="2">
                  <c:v>Bic (16.9%)</c:v>
                </c:pt>
                <c:pt idx="3">
                  <c:v>Dollar Shave Club (2.9%)</c:v>
                </c:pt>
                <c:pt idx="4">
                  <c:v>Harrys (11.2%)</c:v>
                </c:pt>
                <c:pt idx="5">
                  <c:v>Van Der Hagen (2.0%)</c:v>
                </c:pt>
              </c:strCache>
            </c:strRef>
          </c:cat>
          <c:val>
            <c:numRef>
              <c:f>Sheet1!$B$2:$B$7</c:f>
              <c:numCache>
                <c:formatCode>General</c:formatCode>
                <c:ptCount val="6"/>
                <c:pt idx="0">
                  <c:v>0.37384003249487957</c:v>
                </c:pt>
                <c:pt idx="1">
                  <c:v>0.29187650614610444</c:v>
                </c:pt>
                <c:pt idx="2">
                  <c:v>0.20719566904552272</c:v>
                </c:pt>
                <c:pt idx="3">
                  <c:v>0.025397552411303145</c:v>
                </c:pt>
                <c:pt idx="4">
                  <c:v>0.014062886175354469</c:v>
                </c:pt>
                <c:pt idx="5">
                  <c:v>0.00240803426479291</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Quattro Four Blade 1 Handle + 4 Cartri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1 Handle + 3 Cartridges (2.0%)</c:v>
                </c:pt>
                <c:pt idx="1">
                  <c:v>None Razors (12.2%)</c:v>
                </c:pt>
                <c:pt idx="2">
                  <c:v>Dollar Shave Club 6 1 Handle + 2 Blades (2.0%)</c:v>
                </c:pt>
                <c:pt idx="3">
                  <c:v>Equate 2 Blade Disposable Razors 5 Pack (5.5%)</c:v>
                </c:pt>
                <c:pt idx="4">
                  <c:v>Equate 2 Blade Disposable Razors 12 Pack (5.7%)</c:v>
                </c:pt>
                <c:pt idx="5">
                  <c:v>Equate Easy Fit 5 blades 1 Handle + 2 Cartridges (1.1%)</c:v>
                </c:pt>
                <c:pt idx="6">
                  <c:v>Gillette Mach 3 1 Handle + 2 Cartridges (2.7%)</c:v>
                </c:pt>
                <c:pt idx="7">
                  <c:v>Equate Speed 3 Disposable Razors 4 Pack (2.3%)</c:v>
                </c:pt>
                <c:pt idx="8">
                  <c:v>Schick Xtreme 3 Sensitive Disposable Razors 4 Pack (2.8%)</c:v>
                </c:pt>
                <c:pt idx="9">
                  <c:v>Schick Hydro 5 Blade Sensitive Refills 6 Pack (0.6%)</c:v>
                </c:pt>
              </c:strCache>
            </c:strRef>
          </c:cat>
          <c:val>
            <c:numRef>
              <c:f>Sheet1!$B$2:$B$11</c:f>
              <c:numCache>
                <c:formatCode>General</c:formatCode>
                <c:ptCount val="10"/>
                <c:pt idx="0">
                  <c:v>0.17866816279037462</c:v>
                </c:pt>
                <c:pt idx="1">
                  <c:v>0.1563001340022831</c:v>
                </c:pt>
                <c:pt idx="2">
                  <c:v>0.06972208458664804</c:v>
                </c:pt>
                <c:pt idx="3">
                  <c:v>0.06474506746791396</c:v>
                </c:pt>
                <c:pt idx="4">
                  <c:v>0.04914006111089389</c:v>
                </c:pt>
                <c:pt idx="5">
                  <c:v>0.04200385406874945</c:v>
                </c:pt>
                <c:pt idx="6">
                  <c:v>0.034694430808568134</c:v>
                </c:pt>
                <c:pt idx="7">
                  <c:v>0.034471937705414075</c:v>
                </c:pt>
                <c:pt idx="8">
                  <c:v>0.031759426622238504</c:v>
                </c:pt>
                <c:pt idx="9">
                  <c:v>0.03121651465276173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Wilkinson Sword Classic Double Edge 1 Handle + 5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1 Handle + 3 Cartridges (2.0%)</c:v>
                </c:pt>
                <c:pt idx="2">
                  <c:v>None Razors (12.2%)</c:v>
                </c:pt>
                <c:pt idx="3">
                  <c:v>Schick Xtreme 2 Sensitive Disposable Razors 12 Pack (2.7%)</c:v>
                </c:pt>
                <c:pt idx="4">
                  <c:v>Gillette Mach 3 1 Handle + 2 Cartridges (2.7%)</c:v>
                </c:pt>
                <c:pt idx="5">
                  <c:v>Schick Xtreme 3 Sensitive Disposable Razors 4 Pack (2.8%)</c:v>
                </c:pt>
                <c:pt idx="6">
                  <c:v>Equate 2 Blade Disposable Razors 12 Pack (5.7%)</c:v>
                </c:pt>
                <c:pt idx="7">
                  <c:v>Equate 2 Blade Disposable Razors 5 Pack (5.5%)</c:v>
                </c:pt>
                <c:pt idx="8">
                  <c:v>Harry's 5 Blade 1 Handle + 2 Cartridges (3.9%)</c:v>
                </c:pt>
                <c:pt idx="9">
                  <c:v>Dollar Shave Club 6 1 Handle + 2 Blades (2.0%)</c:v>
                </c:pt>
              </c:strCache>
            </c:strRef>
          </c:cat>
          <c:val>
            <c:numRef>
              <c:f>Sheet1!$B$2:$B$11</c:f>
              <c:numCache>
                <c:formatCode>General</c:formatCode>
                <c:ptCount val="10"/>
                <c:pt idx="0">
                  <c:v>0.14117103482846965</c:v>
                </c:pt>
                <c:pt idx="1">
                  <c:v>0.08291160731065729</c:v>
                </c:pt>
                <c:pt idx="2">
                  <c:v>0.07159176273584775</c:v>
                </c:pt>
                <c:pt idx="3">
                  <c:v>0.05770902743306978</c:v>
                </c:pt>
                <c:pt idx="4">
                  <c:v>0.05534612890021127</c:v>
                </c:pt>
                <c:pt idx="5">
                  <c:v>0.05211817903109218</c:v>
                </c:pt>
                <c:pt idx="6">
                  <c:v>0.04880992622613841</c:v>
                </c:pt>
                <c:pt idx="7">
                  <c:v>0.04854778328285571</c:v>
                </c:pt>
                <c:pt idx="8">
                  <c:v>0.04691746313042432</c:v>
                </c:pt>
                <c:pt idx="9">
                  <c:v>0.0404812244359508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Wilkinson Sword Classic Double Edge 1 Handle + 5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Harry's 5 Blade 1 Handle + 2 Cartridges (3.9%)</c:v>
                </c:pt>
                <c:pt idx="2">
                  <c:v>None Razors (12.2%)</c:v>
                </c:pt>
                <c:pt idx="3">
                  <c:v>Schick Hydro 5 Blade Sensitive 1 Handle + 3 Cartridges (2.0%)</c:v>
                </c:pt>
                <c:pt idx="4">
                  <c:v>Gillette Mach 3 1 Handle + 2 Cartridges (2.7%)</c:v>
                </c:pt>
                <c:pt idx="5">
                  <c:v>Harry's 5 Blade 1 Handle + 5 Cartridges (2.3%)</c:v>
                </c:pt>
                <c:pt idx="6">
                  <c:v>Dollar Shave Club 6 1 Handle + 2 Blades (2.0%)</c:v>
                </c:pt>
                <c:pt idx="7">
                  <c:v>Equate 2 Blade Disposable Razors 12 Pack (5.7%)</c:v>
                </c:pt>
                <c:pt idx="8">
                  <c:v>Schick Xtreme 2 Sensitive Disposable Razors 12 Pack (2.7%)</c:v>
                </c:pt>
                <c:pt idx="9">
                  <c:v>Harry's Men Five Blade Refills 4 Pack (2.5%)</c:v>
                </c:pt>
              </c:strCache>
            </c:strRef>
          </c:cat>
          <c:val>
            <c:numRef>
              <c:f>Sheet1!$B$2:$B$11</c:f>
              <c:numCache>
                <c:formatCode>General</c:formatCode>
                <c:ptCount val="10"/>
                <c:pt idx="0">
                  <c:v>0.1184514053083317</c:v>
                </c:pt>
                <c:pt idx="1">
                  <c:v>0.08547316689672849</c:v>
                </c:pt>
                <c:pt idx="2">
                  <c:v>0.07330199798467929</c:v>
                </c:pt>
                <c:pt idx="3">
                  <c:v>0.07201036425741623</c:v>
                </c:pt>
                <c:pt idx="4">
                  <c:v>0.05328854493863865</c:v>
                </c:pt>
                <c:pt idx="5">
                  <c:v>0.04665285855599578</c:v>
                </c:pt>
                <c:pt idx="6">
                  <c:v>0.04655834033706656</c:v>
                </c:pt>
                <c:pt idx="7">
                  <c:v>0.044634512970983004</c:v>
                </c:pt>
                <c:pt idx="8">
                  <c:v>0.04317745849652982</c:v>
                </c:pt>
                <c:pt idx="9">
                  <c:v>0.040546401405499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2 Blade Disposable Razors 5 Pack (5.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12 Pack (5.7%)</c:v>
                </c:pt>
                <c:pt idx="1">
                  <c:v>Bic Men Sensitive Single Blade Disposable Razors 12 Pack (5.7%)</c:v>
                </c:pt>
                <c:pt idx="2">
                  <c:v>None Razors (12.2%)</c:v>
                </c:pt>
                <c:pt idx="3">
                  <c:v>Bic 3 Sensitive Disposable Razors 5 Pack (1.9%)</c:v>
                </c:pt>
                <c:pt idx="4">
                  <c:v>Equate Speed 3 Disposable Razors 4 Pack (2.3%)</c:v>
                </c:pt>
                <c:pt idx="5">
                  <c:v>Schick Xtreme 2 Sensitive Disposable Razors 12 Pack (2.7%)</c:v>
                </c:pt>
                <c:pt idx="6">
                  <c:v>Bic Comfort 3 Sensitive Skin Disposable Razors 4 Pack (2.0%)</c:v>
                </c:pt>
                <c:pt idx="7">
                  <c:v>Equate Caliber 5 Disposable Razors 3 Pack (2.2%)</c:v>
                </c:pt>
                <c:pt idx="8">
                  <c:v>Schick Xtreme 3 Sensitive Disposable Razors 4 Pack (2.8%)</c:v>
                </c:pt>
                <c:pt idx="9">
                  <c:v>Equate Caliber 3 Disposable Razors 3 Pack (1.4%)</c:v>
                </c:pt>
              </c:strCache>
            </c:strRef>
          </c:cat>
          <c:val>
            <c:numRef>
              <c:f>Sheet1!$B$2:$B$11</c:f>
              <c:numCache>
                <c:formatCode>General</c:formatCode>
                <c:ptCount val="10"/>
                <c:pt idx="0">
                  <c:v>0.4152877066661165</c:v>
                </c:pt>
                <c:pt idx="1">
                  <c:v>0.10895748704104814</c:v>
                </c:pt>
                <c:pt idx="2">
                  <c:v>0.05868368706284735</c:v>
                </c:pt>
                <c:pt idx="3">
                  <c:v>0.038016768810475346</c:v>
                </c:pt>
                <c:pt idx="4">
                  <c:v>0.03617202372490331</c:v>
                </c:pt>
                <c:pt idx="5">
                  <c:v>0.035538576411338306</c:v>
                </c:pt>
                <c:pt idx="6">
                  <c:v>0.029155450674998577</c:v>
                </c:pt>
                <c:pt idx="7">
                  <c:v>0.02762921569860443</c:v>
                </c:pt>
                <c:pt idx="8">
                  <c:v>0.02617654860032963</c:v>
                </c:pt>
                <c:pt idx="9">
                  <c:v>0.02565187835595763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2 Blade Disposable Razors 5 Pack (5.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12 Pack (5.7%)</c:v>
                </c:pt>
                <c:pt idx="1">
                  <c:v>Bic Men Sensitive Single Blade Disposable Razors 12 Pack (5.7%)</c:v>
                </c:pt>
                <c:pt idx="2">
                  <c:v>None Razors (12.2%)</c:v>
                </c:pt>
                <c:pt idx="3">
                  <c:v>Bic 3 Sensitive Disposable Razors 5 Pack (1.9%)</c:v>
                </c:pt>
                <c:pt idx="4">
                  <c:v>Equate Speed 3 Disposable Razors 4 Pack (2.3%)</c:v>
                </c:pt>
                <c:pt idx="5">
                  <c:v>Schick Xtreme 2 Sensitive Disposable Razors 12 Pack (2.7%)</c:v>
                </c:pt>
                <c:pt idx="6">
                  <c:v>Bic Comfort 3 Sensitive Skin Disposable Razors 4 Pack (2.0%)</c:v>
                </c:pt>
                <c:pt idx="7">
                  <c:v>Equate Caliber 5 Disposable Razors 3 Pack (2.2%)</c:v>
                </c:pt>
                <c:pt idx="8">
                  <c:v>Schick Xtreme 3 Sensitive Disposable Razors 4 Pack (2.8%)</c:v>
                </c:pt>
                <c:pt idx="9">
                  <c:v>Equate Caliber 3 Disposable Razors 3 Pack (1.4%)</c:v>
                </c:pt>
              </c:strCache>
            </c:strRef>
          </c:cat>
          <c:val>
            <c:numRef>
              <c:f>Sheet1!$B$2:$B$11</c:f>
              <c:numCache>
                <c:formatCode>General</c:formatCode>
                <c:ptCount val="10"/>
                <c:pt idx="0">
                  <c:v>0.41849952734810336</c:v>
                </c:pt>
                <c:pt idx="1">
                  <c:v>0.10932287748497971</c:v>
                </c:pt>
                <c:pt idx="2">
                  <c:v>0.05836645310776196</c:v>
                </c:pt>
                <c:pt idx="3">
                  <c:v>0.03813697029450862</c:v>
                </c:pt>
                <c:pt idx="4">
                  <c:v>0.0359262733065842</c:v>
                </c:pt>
                <c:pt idx="5">
                  <c:v>0.035178400248807924</c:v>
                </c:pt>
                <c:pt idx="6">
                  <c:v>0.029077832036959395</c:v>
                </c:pt>
                <c:pt idx="7">
                  <c:v>0.027409288950804394</c:v>
                </c:pt>
                <c:pt idx="8">
                  <c:v>0.0259449528003935</c:v>
                </c:pt>
                <c:pt idx="9">
                  <c:v>0.0254368448963406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2 Blade Disposable Razors 12 Pack (5.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5 Pack (5.5%)</c:v>
                </c:pt>
                <c:pt idx="1">
                  <c:v>Bic Men Sensitive Single Blade Disposable Razors 12 Pack (5.7%)</c:v>
                </c:pt>
                <c:pt idx="2">
                  <c:v>None Razors (12.2%)</c:v>
                </c:pt>
                <c:pt idx="3">
                  <c:v>Equate Speed 3 Disposable Razors 4 Pack (2.3%)</c:v>
                </c:pt>
                <c:pt idx="4">
                  <c:v>Schick Xtreme 2 Sensitive Disposable Razors 12 Pack (2.7%)</c:v>
                </c:pt>
                <c:pt idx="5">
                  <c:v>Schick Xtreme 3 Sensitive Disposable Razors 4 Pack (2.8%)</c:v>
                </c:pt>
                <c:pt idx="6">
                  <c:v>Equate Caliber 5 Disposable Razors 3 Pack (2.2%)</c:v>
                </c:pt>
                <c:pt idx="7">
                  <c:v>Equate Caliber 3 Disposable Razors 3 Pack (1.4%)</c:v>
                </c:pt>
                <c:pt idx="8">
                  <c:v>Bic 3 Sensitive Disposable Razors 5 Pack (1.9%)</c:v>
                </c:pt>
                <c:pt idx="9">
                  <c:v>Bic Comfort 3 Sensitive Skin Disposable Razors 4 Pack (2.0%)</c:v>
                </c:pt>
              </c:strCache>
            </c:strRef>
          </c:cat>
          <c:val>
            <c:numRef>
              <c:f>Sheet1!$B$2:$B$11</c:f>
              <c:numCache>
                <c:formatCode>General</c:formatCode>
                <c:ptCount val="10"/>
                <c:pt idx="0">
                  <c:v>0.36147670868272413</c:v>
                </c:pt>
                <c:pt idx="1">
                  <c:v>0.11488083118188142</c:v>
                </c:pt>
                <c:pt idx="2">
                  <c:v>0.05189226477942316</c:v>
                </c:pt>
                <c:pt idx="3">
                  <c:v>0.04685890184863422</c:v>
                </c:pt>
                <c:pt idx="4">
                  <c:v>0.037246985817860685</c:v>
                </c:pt>
                <c:pt idx="5">
                  <c:v>0.0351423391476085</c:v>
                </c:pt>
                <c:pt idx="6">
                  <c:v>0.033014975947627215</c:v>
                </c:pt>
                <c:pt idx="7">
                  <c:v>0.03090621226722853</c:v>
                </c:pt>
                <c:pt idx="8">
                  <c:v>0.028978154273110526</c:v>
                </c:pt>
                <c:pt idx="9">
                  <c:v>0.02769583694622555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2 Blade Disposable Razors 12 Pack (5.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5 Pack (5.5%)</c:v>
                </c:pt>
                <c:pt idx="1">
                  <c:v>Bic Men Sensitive Single Blade Disposable Razors 12 Pack (5.7%)</c:v>
                </c:pt>
                <c:pt idx="2">
                  <c:v>None Razors (12.2%)</c:v>
                </c:pt>
                <c:pt idx="3">
                  <c:v>Equate Speed 3 Disposable Razors 4 Pack (2.3%)</c:v>
                </c:pt>
                <c:pt idx="4">
                  <c:v>Schick Xtreme 2 Sensitive Disposable Razors 12 Pack (2.7%)</c:v>
                </c:pt>
                <c:pt idx="5">
                  <c:v>Schick Xtreme 3 Sensitive Disposable Razors 4 Pack (2.8%)</c:v>
                </c:pt>
                <c:pt idx="6">
                  <c:v>Equate Caliber 5 Disposable Razors 3 Pack (2.2%)</c:v>
                </c:pt>
                <c:pt idx="7">
                  <c:v>Equate Caliber 3 Disposable Razors 3 Pack (1.4%)</c:v>
                </c:pt>
                <c:pt idx="8">
                  <c:v>Bic 3 Sensitive Disposable Razors 5 Pack (1.9%)</c:v>
                </c:pt>
                <c:pt idx="9">
                  <c:v>Bic Comfort 3 Sensitive Skin Disposable Razors 4 Pack (2.0%)</c:v>
                </c:pt>
              </c:strCache>
            </c:strRef>
          </c:cat>
          <c:val>
            <c:numRef>
              <c:f>Sheet1!$B$2:$B$11</c:f>
              <c:numCache>
                <c:formatCode>General</c:formatCode>
                <c:ptCount val="10"/>
                <c:pt idx="0">
                  <c:v>0.36574213360541813</c:v>
                </c:pt>
                <c:pt idx="1">
                  <c:v>0.1149785594176123</c:v>
                </c:pt>
                <c:pt idx="2">
                  <c:v>0.05186801611429022</c:v>
                </c:pt>
                <c:pt idx="3">
                  <c:v>0.046703104593922136</c:v>
                </c:pt>
                <c:pt idx="4">
                  <c:v>0.03698262807344953</c:v>
                </c:pt>
                <c:pt idx="5">
                  <c:v>0.03482175560839202</c:v>
                </c:pt>
                <c:pt idx="6">
                  <c:v>0.032917322003807994</c:v>
                </c:pt>
                <c:pt idx="7">
                  <c:v>0.030872648609439064</c:v>
                </c:pt>
                <c:pt idx="8">
                  <c:v>0.02890618923269677</c:v>
                </c:pt>
                <c:pt idx="9">
                  <c:v>0.02746063909237403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2 Blade Disposable Razors 20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12 Pack (5.7%)</c:v>
                </c:pt>
                <c:pt idx="1">
                  <c:v>Equate 2 Blade Disposable Razors 5 Pack (5.5%)</c:v>
                </c:pt>
                <c:pt idx="2">
                  <c:v>Bic Men Sensitive Single Blade Disposable Razors 12 Pack (5.7%)</c:v>
                </c:pt>
                <c:pt idx="3">
                  <c:v>Schick Xtreme 2 Sensitive Disposable Razors 12 Pack (2.7%)</c:v>
                </c:pt>
                <c:pt idx="4">
                  <c:v>None Razors (12.2%)</c:v>
                </c:pt>
                <c:pt idx="5">
                  <c:v>Schick Xtreme 3 Sensitive Disposable Razors 4 Pack (2.8%)</c:v>
                </c:pt>
                <c:pt idx="6">
                  <c:v>Equate Speed 3 Disposable Razors 4 Pack (2.3%)</c:v>
                </c:pt>
                <c:pt idx="7">
                  <c:v>Equate Caliber 5 Disposable Razors 3 Pack (2.2%)</c:v>
                </c:pt>
                <c:pt idx="8">
                  <c:v>Equate Speed 3 Disposable Razors 8 Pack (1.9%)</c:v>
                </c:pt>
                <c:pt idx="9">
                  <c:v>Equate Caliber 3 Disposable Razors 3 Pack (1.4%)</c:v>
                </c:pt>
              </c:strCache>
            </c:strRef>
          </c:cat>
          <c:val>
            <c:numRef>
              <c:f>Sheet1!$B$2:$B$11</c:f>
              <c:numCache>
                <c:formatCode>General</c:formatCode>
                <c:ptCount val="10"/>
                <c:pt idx="0">
                  <c:v>0.3459307390189181</c:v>
                </c:pt>
                <c:pt idx="1">
                  <c:v>0.21986558178345866</c:v>
                </c:pt>
                <c:pt idx="2">
                  <c:v>0.08994833441922448</c:v>
                </c:pt>
                <c:pt idx="3">
                  <c:v>0.029520689262990285</c:v>
                </c:pt>
                <c:pt idx="4">
                  <c:v>0.029361971351882673</c:v>
                </c:pt>
                <c:pt idx="5">
                  <c:v>0.02893366658443661</c:v>
                </c:pt>
                <c:pt idx="6">
                  <c:v>0.026010005875009557</c:v>
                </c:pt>
                <c:pt idx="7">
                  <c:v>0.022518967503290518</c:v>
                </c:pt>
                <c:pt idx="8">
                  <c:v>0.02078695110809803</c:v>
                </c:pt>
                <c:pt idx="9">
                  <c:v>0.01698895121074355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2 Blade Disposable Razors 20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12 Pack (5.7%)</c:v>
                </c:pt>
                <c:pt idx="1">
                  <c:v>Equate 2 Blade Disposable Razors 5 Pack (5.5%)</c:v>
                </c:pt>
                <c:pt idx="2">
                  <c:v>Bic Men Sensitive Single Blade Disposable Razors 12 Pack (5.7%)</c:v>
                </c:pt>
                <c:pt idx="3">
                  <c:v>None Razors (12.2%)</c:v>
                </c:pt>
                <c:pt idx="4">
                  <c:v>Schick Xtreme 3 Sensitive Disposable Razors 4 Pack (2.8%)</c:v>
                </c:pt>
                <c:pt idx="5">
                  <c:v>Schick Xtreme 2 Sensitive Disposable Razors 12 Pack (2.7%)</c:v>
                </c:pt>
                <c:pt idx="6">
                  <c:v>Equate Speed 3 Disposable Razors 4 Pack (2.3%)</c:v>
                </c:pt>
                <c:pt idx="7">
                  <c:v>Equate Caliber 5 Disposable Razors 3 Pack (2.2%)</c:v>
                </c:pt>
                <c:pt idx="8">
                  <c:v>Bic 3 Sensitive Disposable Razors 5 Pack (1.9%)</c:v>
                </c:pt>
                <c:pt idx="9">
                  <c:v>Equate Speed 3 Disposable Razors 8 Pack (1.9%)</c:v>
                </c:pt>
              </c:strCache>
            </c:strRef>
          </c:cat>
          <c:val>
            <c:numRef>
              <c:f>Sheet1!$B$2:$B$11</c:f>
              <c:numCache>
                <c:formatCode>General</c:formatCode>
                <c:ptCount val="10"/>
                <c:pt idx="0">
                  <c:v>0.3684410575696774</c:v>
                </c:pt>
                <c:pt idx="1">
                  <c:v>0.22378191064102973</c:v>
                </c:pt>
                <c:pt idx="2">
                  <c:v>0.08477824175592967</c:v>
                </c:pt>
                <c:pt idx="3">
                  <c:v>0.044380607502083426</c:v>
                </c:pt>
                <c:pt idx="4">
                  <c:v>0.023873272546380737</c:v>
                </c:pt>
                <c:pt idx="5">
                  <c:v>0.023587861501738625</c:v>
                </c:pt>
                <c:pt idx="6">
                  <c:v>0.02335884502366315</c:v>
                </c:pt>
                <c:pt idx="7">
                  <c:v>0.020145689277826288</c:v>
                </c:pt>
                <c:pt idx="8">
                  <c:v>0.0162614453141349</c:v>
                </c:pt>
                <c:pt idx="9">
                  <c:v>0.01620549141018752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Caliber 3 Disposable Razors 3 Pack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12 Pack (5.7%)</c:v>
                </c:pt>
                <c:pt idx="1">
                  <c:v>Equate Caliber 5 Disposable Razors 3 Pack (2.2%)</c:v>
                </c:pt>
                <c:pt idx="2">
                  <c:v>Equate Speed 3 Disposable Razors 4 Pack (2.3%)</c:v>
                </c:pt>
                <c:pt idx="3">
                  <c:v>Equate 2 Blade Disposable Razors 5 Pack (5.5%)</c:v>
                </c:pt>
                <c:pt idx="4">
                  <c:v>Bic Men Sensitive Single Blade Disposable Razors 12 Pack (5.7%)</c:v>
                </c:pt>
                <c:pt idx="5">
                  <c:v>Equate Speed 3 Disposable Razors 8 Pack (1.9%)</c:v>
                </c:pt>
                <c:pt idx="6">
                  <c:v>Schick Xtreme 3 Sensitive Disposable Razors 4 Pack (2.8%)</c:v>
                </c:pt>
                <c:pt idx="7">
                  <c:v>Schick Xtreme 2 Sensitive Disposable Razors 12 Pack (2.7%)</c:v>
                </c:pt>
                <c:pt idx="8">
                  <c:v>None Razors (12.2%)</c:v>
                </c:pt>
                <c:pt idx="9">
                  <c:v>Bic Comfort 3 Sensitive Skin Disposable Razors 4 Pack (2.0%)</c:v>
                </c:pt>
              </c:strCache>
            </c:strRef>
          </c:cat>
          <c:val>
            <c:numRef>
              <c:f>Sheet1!$B$2:$B$11</c:f>
              <c:numCache>
                <c:formatCode>General</c:formatCode>
                <c:ptCount val="10"/>
                <c:pt idx="0">
                  <c:v>0.11114147622859587</c:v>
                </c:pt>
                <c:pt idx="1">
                  <c:v>0.10632993129207134</c:v>
                </c:pt>
                <c:pt idx="2">
                  <c:v>0.10564262116947337</c:v>
                </c:pt>
                <c:pt idx="3">
                  <c:v>0.08328623465652944</c:v>
                </c:pt>
                <c:pt idx="4">
                  <c:v>0.05523605333337958</c:v>
                </c:pt>
                <c:pt idx="5">
                  <c:v>0.05197099172093471</c:v>
                </c:pt>
                <c:pt idx="6">
                  <c:v>0.051830779304015015</c:v>
                </c:pt>
                <c:pt idx="7">
                  <c:v>0.03827050085525646</c:v>
                </c:pt>
                <c:pt idx="8">
                  <c:v>0.03709937329935924</c:v>
                </c:pt>
                <c:pt idx="9">
                  <c:v>0.03702854564408395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Equate (2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 (38.7%)</c:v>
                </c:pt>
                <c:pt idx="1">
                  <c:v>Bic (16.9%)</c:v>
                </c:pt>
                <c:pt idx="2">
                  <c:v>Schick (11.2%)</c:v>
                </c:pt>
                <c:pt idx="3">
                  <c:v>Harrys (11.2%)</c:v>
                </c:pt>
                <c:pt idx="4">
                  <c:v>Dollar Shave Club (2.9%)</c:v>
                </c:pt>
                <c:pt idx="5">
                  <c:v>Van Der Hagen (2.0%)</c:v>
                </c:pt>
              </c:strCache>
            </c:strRef>
          </c:cat>
          <c:val>
            <c:numRef>
              <c:f>Sheet1!$B$2:$B$7</c:f>
              <c:numCache>
                <c:formatCode>General</c:formatCode>
                <c:ptCount val="6"/>
                <c:pt idx="0">
                  <c:v>0.29405320201068214</c:v>
                </c:pt>
                <c:pt idx="1">
                  <c:v>0.28252852463409</c:v>
                </c:pt>
                <c:pt idx="2">
                  <c:v>0.20498558569867995</c:v>
                </c:pt>
                <c:pt idx="3">
                  <c:v>0.04478696085166082</c:v>
                </c:pt>
                <c:pt idx="4">
                  <c:v>0.0368213652715514</c:v>
                </c:pt>
                <c:pt idx="5">
                  <c:v>0.00728017308581287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Caliber 3 Disposable Razors 3 Pack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Speed 3 Disposable Razors 4 Pack (2.3%)</c:v>
                </c:pt>
                <c:pt idx="1">
                  <c:v>Equate Caliber 5 Disposable Razors 3 Pack (2.2%)</c:v>
                </c:pt>
                <c:pt idx="2">
                  <c:v>Equate 2 Blade Disposable Razors 12 Pack (5.7%)</c:v>
                </c:pt>
                <c:pt idx="3">
                  <c:v>Equate 2 Blade Disposable Razors 5 Pack (5.5%)</c:v>
                </c:pt>
                <c:pt idx="4">
                  <c:v>Bic Men Sensitive Single Blade Disposable Razors 12 Pack (5.7%)</c:v>
                </c:pt>
                <c:pt idx="5">
                  <c:v>Schick Xtreme 3 Sensitive Disposable Razors 4 Pack (2.8%)</c:v>
                </c:pt>
                <c:pt idx="6">
                  <c:v>Equate Speed 3 Disposable Razors 8 Pack (1.9%)</c:v>
                </c:pt>
                <c:pt idx="7">
                  <c:v>Bic Comfort 3 Sensitive Skin Disposable Razors 4 Pack (2.0%)</c:v>
                </c:pt>
                <c:pt idx="8">
                  <c:v>Schick Xtreme 2 Sensitive Disposable Razors 12 Pack (2.7%)</c:v>
                </c:pt>
                <c:pt idx="9">
                  <c:v>None Razors (12.2%)</c:v>
                </c:pt>
              </c:strCache>
            </c:strRef>
          </c:cat>
          <c:val>
            <c:numRef>
              <c:f>Sheet1!$B$2:$B$11</c:f>
              <c:numCache>
                <c:formatCode>General</c:formatCode>
                <c:ptCount val="10"/>
                <c:pt idx="0">
                  <c:v>0.13026380246989816</c:v>
                </c:pt>
                <c:pt idx="1">
                  <c:v>0.12806130388756026</c:v>
                </c:pt>
                <c:pt idx="2">
                  <c:v>0.10627957739696624</c:v>
                </c:pt>
                <c:pt idx="3">
                  <c:v>0.08398136192867159</c:v>
                </c:pt>
                <c:pt idx="4">
                  <c:v>0.05370998736669456</c:v>
                </c:pt>
                <c:pt idx="5">
                  <c:v>0.053585559078084474</c:v>
                </c:pt>
                <c:pt idx="6">
                  <c:v>0.04843028274623266</c:v>
                </c:pt>
                <c:pt idx="7">
                  <c:v>0.04437675735123409</c:v>
                </c:pt>
                <c:pt idx="8">
                  <c:v>0.03755316401647208</c:v>
                </c:pt>
                <c:pt idx="9">
                  <c:v>0.02928946990626658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Caliber 3 Disposable Razor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Speed 3 Disposable Razors 4 Pack (2.3%)</c:v>
                </c:pt>
                <c:pt idx="1">
                  <c:v>Equate Speed 3 Disposable Razors 8 Pack (1.9%)</c:v>
                </c:pt>
                <c:pt idx="2">
                  <c:v>Equate Caliber 5 Disposable Razors 3 Pack (2.2%)</c:v>
                </c:pt>
                <c:pt idx="3">
                  <c:v>Equate Caliber 3 Disposable Razors 3 Pack (1.4%)</c:v>
                </c:pt>
                <c:pt idx="4">
                  <c:v>Equate 2 Blade Disposable Razors 12 Pack (5.7%)</c:v>
                </c:pt>
                <c:pt idx="5">
                  <c:v>Bic Men Sensitive Single Blade Disposable Razors 12 Pack (5.7%)</c:v>
                </c:pt>
                <c:pt idx="6">
                  <c:v>Equate 2 Blade Disposable Razors 5 Pack (5.5%)</c:v>
                </c:pt>
                <c:pt idx="7">
                  <c:v>Bic Comfort 3 Sensitive Skin Disposable Razors 4 Pack (2.0%)</c:v>
                </c:pt>
                <c:pt idx="8">
                  <c:v>None Razors (12.2%)</c:v>
                </c:pt>
                <c:pt idx="9">
                  <c:v>Schick Xtreme 3 Sensitive Disposable Razors 4 Pack (2.8%)</c:v>
                </c:pt>
              </c:strCache>
            </c:strRef>
          </c:cat>
          <c:val>
            <c:numRef>
              <c:f>Sheet1!$B$2:$B$11</c:f>
              <c:numCache>
                <c:formatCode>General</c:formatCode>
                <c:ptCount val="10"/>
                <c:pt idx="0">
                  <c:v>0.18733239095872958</c:v>
                </c:pt>
                <c:pt idx="1">
                  <c:v>0.12058217403655005</c:v>
                </c:pt>
                <c:pt idx="2">
                  <c:v>0.09171697117601306</c:v>
                </c:pt>
                <c:pt idx="3">
                  <c:v>0.08627292343275221</c:v>
                </c:pt>
                <c:pt idx="4">
                  <c:v>0.06779566844385883</c:v>
                </c:pt>
                <c:pt idx="5">
                  <c:v>0.050717025378590866</c:v>
                </c:pt>
                <c:pt idx="6">
                  <c:v>0.04877325499373263</c:v>
                </c:pt>
                <c:pt idx="7">
                  <c:v>0.04587357227224467</c:v>
                </c:pt>
                <c:pt idx="8">
                  <c:v>0.03862775438138401</c:v>
                </c:pt>
                <c:pt idx="9">
                  <c:v>0.03304956484342659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Caliber 3 Disposable Razor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Speed 3 Disposable Razors 4 Pack (2.3%)</c:v>
                </c:pt>
                <c:pt idx="1">
                  <c:v>Equate Speed 3 Disposable Razors 8 Pack (1.9%)</c:v>
                </c:pt>
                <c:pt idx="2">
                  <c:v>Equate Caliber 5 Disposable Razors 3 Pack (2.2%)</c:v>
                </c:pt>
                <c:pt idx="3">
                  <c:v>Equate Caliber 3 Disposable Razors 3 Pack (1.4%)</c:v>
                </c:pt>
                <c:pt idx="4">
                  <c:v>Schick Xtreme 3 Sensitive Disposable Razors 4 Pack (2.8%)</c:v>
                </c:pt>
                <c:pt idx="5">
                  <c:v>Equate 2 Blade Disposable Razors 12 Pack (5.7%)</c:v>
                </c:pt>
                <c:pt idx="6">
                  <c:v>Bic Comfort 3 Sensitive Skin Disposable Razors 4 Pack (2.0%)</c:v>
                </c:pt>
                <c:pt idx="7">
                  <c:v>Bic Men Sensitive Single Blade Disposable Razors 12 Pack (5.7%)</c:v>
                </c:pt>
                <c:pt idx="8">
                  <c:v>Schick Xtreme 2 Sensitive Disposable Razors 12 Pack (2.7%)</c:v>
                </c:pt>
                <c:pt idx="9">
                  <c:v>Gillette Mach 3 Sensitive Skin Disposable Razors 3 Pack (2.4%)</c:v>
                </c:pt>
              </c:strCache>
            </c:strRef>
          </c:cat>
          <c:val>
            <c:numRef>
              <c:f>Sheet1!$B$2:$B$11</c:f>
              <c:numCache>
                <c:formatCode>General</c:formatCode>
                <c:ptCount val="10"/>
                <c:pt idx="0">
                  <c:v>0.18217150298237886</c:v>
                </c:pt>
                <c:pt idx="1">
                  <c:v>0.1570824837435684</c:v>
                </c:pt>
                <c:pt idx="2">
                  <c:v>0.08543259050463062</c:v>
                </c:pt>
                <c:pt idx="3">
                  <c:v>0.06886940992372638</c:v>
                </c:pt>
                <c:pt idx="4">
                  <c:v>0.056772170094176344</c:v>
                </c:pt>
                <c:pt idx="5">
                  <c:v>0.04228063987109608</c:v>
                </c:pt>
                <c:pt idx="6">
                  <c:v>0.03928938218484863</c:v>
                </c:pt>
                <c:pt idx="7">
                  <c:v>0.03827318618772804</c:v>
                </c:pt>
                <c:pt idx="8">
                  <c:v>0.032227660777751126</c:v>
                </c:pt>
                <c:pt idx="9">
                  <c:v>0.03091653093038108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Caliber 5 Disposable Razors 3 Pack (2.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Caliber 3 Disposable Razors 3 Pack (1.4%)</c:v>
                </c:pt>
                <c:pt idx="1">
                  <c:v>Equate Speed 3 Disposable Razors 4 Pack (2.3%)</c:v>
                </c:pt>
                <c:pt idx="2">
                  <c:v>Equate 2 Blade Disposable Razors 12 Pack (5.7%)</c:v>
                </c:pt>
                <c:pt idx="3">
                  <c:v>None Razors (12.2%)</c:v>
                </c:pt>
                <c:pt idx="4">
                  <c:v>Equate 2 Blade Disposable Razors 5 Pack (5.5%)</c:v>
                </c:pt>
                <c:pt idx="5">
                  <c:v>Schick Xtreme 3 Sensitive Disposable Razors 4 Pack (2.8%)</c:v>
                </c:pt>
                <c:pt idx="6">
                  <c:v>Bic Men Sensitive Single Blade Disposable Razors 12 Pack (5.7%)</c:v>
                </c:pt>
                <c:pt idx="7">
                  <c:v>Equate Speed 3 Disposable Razors 8 Pack (1.9%)</c:v>
                </c:pt>
                <c:pt idx="8">
                  <c:v>Schick Xtreme 2 Sensitive Disposable Razors 12 Pack (2.7%)</c:v>
                </c:pt>
                <c:pt idx="9">
                  <c:v>Equate Easy Fit 5 blades 1 Handle + 2 Cartridges (1.1%)</c:v>
                </c:pt>
              </c:strCache>
            </c:strRef>
          </c:cat>
          <c:val>
            <c:numRef>
              <c:f>Sheet1!$B$2:$B$11</c:f>
              <c:numCache>
                <c:formatCode>General</c:formatCode>
                <c:ptCount val="10"/>
                <c:pt idx="0">
                  <c:v>0.09228474377990459</c:v>
                </c:pt>
                <c:pt idx="1">
                  <c:v>0.08579272596886837</c:v>
                </c:pt>
                <c:pt idx="2">
                  <c:v>0.0730891826489196</c:v>
                </c:pt>
                <c:pt idx="3">
                  <c:v>0.06589606223436356</c:v>
                </c:pt>
                <c:pt idx="4">
                  <c:v>0.06374048836774761</c:v>
                </c:pt>
                <c:pt idx="5">
                  <c:v>0.05907647431252936</c:v>
                </c:pt>
                <c:pt idx="6">
                  <c:v>0.04968234184674584</c:v>
                </c:pt>
                <c:pt idx="7">
                  <c:v>0.04292781100085098</c:v>
                </c:pt>
                <c:pt idx="8">
                  <c:v>0.04174210353108873</c:v>
                </c:pt>
                <c:pt idx="9">
                  <c:v>0.0359358347371241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Caliber 5 Disposable Razors 3 Pack (2.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Caliber 3 Disposable Razors 3 Pack (1.4%)</c:v>
                </c:pt>
                <c:pt idx="1">
                  <c:v>Equate Speed 3 Disposable Razors 4 Pack (2.3%)</c:v>
                </c:pt>
                <c:pt idx="2">
                  <c:v>Equate 2 Blade Disposable Razors 12 Pack (5.7%)</c:v>
                </c:pt>
                <c:pt idx="3">
                  <c:v>Equate 2 Blade Disposable Razors 5 Pack (5.5%)</c:v>
                </c:pt>
                <c:pt idx="4">
                  <c:v>Bic Men Sensitive Single Blade Disposable Razors 12 Pack (5.7%)</c:v>
                </c:pt>
                <c:pt idx="5">
                  <c:v>Equate Speed 3 Disposable Razors 8 Pack (1.9%)</c:v>
                </c:pt>
                <c:pt idx="6">
                  <c:v>Bic Comfort 3 Sensitive Skin Disposable Razors 4 Pack (2.0%)</c:v>
                </c:pt>
                <c:pt idx="7">
                  <c:v>None Razors (12.2%)</c:v>
                </c:pt>
                <c:pt idx="8">
                  <c:v>Equate Easy Fit 5 blades 1 Handle + 2 Cartridges (1.1%)</c:v>
                </c:pt>
                <c:pt idx="9">
                  <c:v>Bic 3 Sensitive Disposable Razors 5 Pack (1.9%)</c:v>
                </c:pt>
              </c:strCache>
            </c:strRef>
          </c:cat>
          <c:val>
            <c:numRef>
              <c:f>Sheet1!$B$2:$B$11</c:f>
              <c:numCache>
                <c:formatCode>General</c:formatCode>
                <c:ptCount val="10"/>
                <c:pt idx="0">
                  <c:v>0.1805561379959983</c:v>
                </c:pt>
                <c:pt idx="1">
                  <c:v>0.12163128613948623</c:v>
                </c:pt>
                <c:pt idx="2">
                  <c:v>0.08966782278792286</c:v>
                </c:pt>
                <c:pt idx="3">
                  <c:v>0.07868326152881304</c:v>
                </c:pt>
                <c:pt idx="4">
                  <c:v>0.07795123067471846</c:v>
                </c:pt>
                <c:pt idx="5">
                  <c:v>0.056949975843400724</c:v>
                </c:pt>
                <c:pt idx="6">
                  <c:v>0.05005927836288256</c:v>
                </c:pt>
                <c:pt idx="7">
                  <c:v>0.047705063298869234</c:v>
                </c:pt>
                <c:pt idx="8">
                  <c:v>0.03452383296459022</c:v>
                </c:pt>
                <c:pt idx="9">
                  <c:v>0.0314072998617421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Caliber 5 Disposable Razor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Caliber 5 Disposable Razors 3 Pack (2.2%)</c:v>
                </c:pt>
                <c:pt idx="1">
                  <c:v>Equate Speed 3 Disposable Razors 4 Pack (2.3%)</c:v>
                </c:pt>
                <c:pt idx="2">
                  <c:v>Equate Caliber 3 Disposable Razors 3 Pack (1.4%)</c:v>
                </c:pt>
                <c:pt idx="3">
                  <c:v>Equate Speed 3 Disposable Razors 8 Pack (1.9%)</c:v>
                </c:pt>
                <c:pt idx="4">
                  <c:v>Schick Xtreme 3 Sensitive Disposable Razors 4 Pack (2.8%)</c:v>
                </c:pt>
                <c:pt idx="5">
                  <c:v>Equate 2 Blade Disposable Razors 12 Pack (5.7%)</c:v>
                </c:pt>
                <c:pt idx="6">
                  <c:v>Bic Comfort 3 Sensitive Skin Disposable Razors 4 Pack (2.0%)</c:v>
                </c:pt>
                <c:pt idx="7">
                  <c:v>Bic Men Sensitive Single Blade Disposable Razors 12 Pack (5.7%)</c:v>
                </c:pt>
                <c:pt idx="8">
                  <c:v>Gillette Sensor 3 Sensitive Disposable Razors 4 Pack (2.3%)</c:v>
                </c:pt>
                <c:pt idx="9">
                  <c:v>Equate 2 Blade Disposable Razors 5 Pack (5.5%)</c:v>
                </c:pt>
              </c:strCache>
            </c:strRef>
          </c:cat>
          <c:val>
            <c:numRef>
              <c:f>Sheet1!$B$2:$B$11</c:f>
              <c:numCache>
                <c:formatCode>General</c:formatCode>
                <c:ptCount val="10"/>
                <c:pt idx="0">
                  <c:v>0.12621823620779338</c:v>
                </c:pt>
                <c:pt idx="1">
                  <c:v>0.07104782944200289</c:v>
                </c:pt>
                <c:pt idx="2">
                  <c:v>0.06310411659377962</c:v>
                </c:pt>
                <c:pt idx="3">
                  <c:v>0.061784518289148174</c:v>
                </c:pt>
                <c:pt idx="4">
                  <c:v>0.060259546942520996</c:v>
                </c:pt>
                <c:pt idx="5">
                  <c:v>0.043533121252621</c:v>
                </c:pt>
                <c:pt idx="6">
                  <c:v>0.04301329326826311</c:v>
                </c:pt>
                <c:pt idx="7">
                  <c:v>0.03959308235123348</c:v>
                </c:pt>
                <c:pt idx="8">
                  <c:v>0.038193018077726</c:v>
                </c:pt>
                <c:pt idx="9">
                  <c:v>0.0364727265990622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Caliber 5 Disposable Razor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Caliber 5 Disposable Razors 3 Pack (2.2%)</c:v>
                </c:pt>
                <c:pt idx="1">
                  <c:v>Equate Speed 3 Disposable Razors 8 Pack (1.9%)</c:v>
                </c:pt>
                <c:pt idx="2">
                  <c:v>Equate Speed 3 Disposable Razors 4 Pack (2.3%)</c:v>
                </c:pt>
                <c:pt idx="3">
                  <c:v>Equate Caliber 3 Disposable Razors 3 Pack (1.4%)</c:v>
                </c:pt>
                <c:pt idx="4">
                  <c:v>Schick Xtreme 3 Sensitive Disposable Razors 4 Pack (2.8%)</c:v>
                </c:pt>
                <c:pt idx="5">
                  <c:v>Gillette Sensor 3 Sensitive Disposable Razors 4 Pack (2.3%)</c:v>
                </c:pt>
                <c:pt idx="6">
                  <c:v>Bic Comfort 3 Sensitive Skin Disposable Razors 4 Pack (2.0%)</c:v>
                </c:pt>
                <c:pt idx="7">
                  <c:v>Bic Men Sensitive Single Blade Disposable Razors 12 Pack (5.7%)</c:v>
                </c:pt>
                <c:pt idx="8">
                  <c:v>Gillette Mach 3 Sensitive Skin Disposable Razors 3 Pack (2.4%)</c:v>
                </c:pt>
                <c:pt idx="9">
                  <c:v>None Razors (12.2%)</c:v>
                </c:pt>
              </c:strCache>
            </c:strRef>
          </c:cat>
          <c:val>
            <c:numRef>
              <c:f>Sheet1!$B$2:$B$11</c:f>
              <c:numCache>
                <c:formatCode>General</c:formatCode>
                <c:ptCount val="10"/>
                <c:pt idx="0">
                  <c:v>0.13069380763114927</c:v>
                </c:pt>
                <c:pt idx="1">
                  <c:v>0.06245898047257539</c:v>
                </c:pt>
                <c:pt idx="2">
                  <c:v>0.05918691540534413</c:v>
                </c:pt>
                <c:pt idx="3">
                  <c:v>0.053864066477484575</c:v>
                </c:pt>
                <c:pt idx="4">
                  <c:v>0.05058430193823882</c:v>
                </c:pt>
                <c:pt idx="5">
                  <c:v>0.047911619850479495</c:v>
                </c:pt>
                <c:pt idx="6">
                  <c:v>0.0420513635670855</c:v>
                </c:pt>
                <c:pt idx="7">
                  <c:v>0.04167040682733676</c:v>
                </c:pt>
                <c:pt idx="8">
                  <c:v>0.03982046128239163</c:v>
                </c:pt>
                <c:pt idx="9">
                  <c:v>0.03394153237020760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Speed 3 Disposable Razors 4 Pack (2.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Speed 3 Disposable Razors 8 Pack (1.9%)</c:v>
                </c:pt>
                <c:pt idx="1">
                  <c:v>Equate 2 Blade Disposable Razors 12 Pack (5.7%)</c:v>
                </c:pt>
                <c:pt idx="2">
                  <c:v>Schick Xtreme 3 Sensitive Disposable Razors 4 Pack (2.8%)</c:v>
                </c:pt>
                <c:pt idx="3">
                  <c:v>Equate Caliber 5 Disposable Razors 3 Pack (2.2%)</c:v>
                </c:pt>
                <c:pt idx="4">
                  <c:v>Schick Xtreme 2 Sensitive Disposable Razors 12 Pack (2.7%)</c:v>
                </c:pt>
                <c:pt idx="5">
                  <c:v>Equate Caliber 3 Disposable Razors 3 Pack (1.4%)</c:v>
                </c:pt>
                <c:pt idx="6">
                  <c:v>Equate 2 Blade Disposable Razors 5 Pack (5.5%)</c:v>
                </c:pt>
                <c:pt idx="7">
                  <c:v>None Razors (12.2%)</c:v>
                </c:pt>
                <c:pt idx="8">
                  <c:v>Bic Men Sensitive Single Blade Disposable Razors 12 Pack (5.7%)</c:v>
                </c:pt>
                <c:pt idx="9">
                  <c:v>Gillette Mach 3 Sensitive Skin Disposable Razors 3 Pack (2.4%)</c:v>
                </c:pt>
              </c:strCache>
            </c:strRef>
          </c:cat>
          <c:val>
            <c:numRef>
              <c:f>Sheet1!$B$2:$B$11</c:f>
              <c:numCache>
                <c:formatCode>General</c:formatCode>
                <c:ptCount val="10"/>
                <c:pt idx="0">
                  <c:v>0.11261228188756305</c:v>
                </c:pt>
                <c:pt idx="1">
                  <c:v>0.083772440159878</c:v>
                </c:pt>
                <c:pt idx="2">
                  <c:v>0.07396983081527461</c:v>
                </c:pt>
                <c:pt idx="3">
                  <c:v>0.06985754251359337</c:v>
                </c:pt>
                <c:pt idx="4">
                  <c:v>0.061951118973809394</c:v>
                </c:pt>
                <c:pt idx="5">
                  <c:v>0.060921830295225535</c:v>
                </c:pt>
                <c:pt idx="6">
                  <c:v>0.05912206258756475</c:v>
                </c:pt>
                <c:pt idx="7">
                  <c:v>0.04956721830727163</c:v>
                </c:pt>
                <c:pt idx="8">
                  <c:v>0.045604663212723044</c:v>
                </c:pt>
                <c:pt idx="9">
                  <c:v>0.03291875617822566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Speed 3 Disposable Razors 4 Pack (2.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12 Pack (5.7%)</c:v>
                </c:pt>
                <c:pt idx="1">
                  <c:v>Equate Speed 3 Disposable Razors 8 Pack (1.9%)</c:v>
                </c:pt>
                <c:pt idx="2">
                  <c:v>Equate 2 Blade Disposable Razors 5 Pack (5.5%)</c:v>
                </c:pt>
                <c:pt idx="3">
                  <c:v>None Razors (12.2%)</c:v>
                </c:pt>
                <c:pt idx="4">
                  <c:v>Schick Xtreme 3 Sensitive Disposable Razors 4 Pack (2.8%)</c:v>
                </c:pt>
                <c:pt idx="5">
                  <c:v>Equate Caliber 5 Disposable Razors 3 Pack (2.2%)</c:v>
                </c:pt>
                <c:pt idx="6">
                  <c:v>Equate Caliber 3 Disposable Razors 3 Pack (1.4%)</c:v>
                </c:pt>
                <c:pt idx="7">
                  <c:v>Schick Xtreme 2 Sensitive Disposable Razors 12 Pack (2.7%)</c:v>
                </c:pt>
                <c:pt idx="8">
                  <c:v>Bic Men Sensitive Single Blade Disposable Razors 12 Pack (5.7%)</c:v>
                </c:pt>
                <c:pt idx="9">
                  <c:v>Gillette Mach 3 Sensitive Skin Disposable Razors 3 Pack (2.4%)</c:v>
                </c:pt>
              </c:strCache>
            </c:strRef>
          </c:cat>
          <c:val>
            <c:numRef>
              <c:f>Sheet1!$B$2:$B$11</c:f>
              <c:numCache>
                <c:formatCode>General</c:formatCode>
                <c:ptCount val="10"/>
                <c:pt idx="0">
                  <c:v>0.10236295211978802</c:v>
                </c:pt>
                <c:pt idx="1">
                  <c:v>0.0817532579596312</c:v>
                </c:pt>
                <c:pt idx="2">
                  <c:v>0.0703830462225925</c:v>
                </c:pt>
                <c:pt idx="3">
                  <c:v>0.06801785039962356</c:v>
                </c:pt>
                <c:pt idx="4">
                  <c:v>0.06509772405115488</c:v>
                </c:pt>
                <c:pt idx="5">
                  <c:v>0.06307568014106134</c:v>
                </c:pt>
                <c:pt idx="6">
                  <c:v>0.05483767283610048</c:v>
                </c:pt>
                <c:pt idx="7">
                  <c:v>0.05076878775830138</c:v>
                </c:pt>
                <c:pt idx="8">
                  <c:v>0.04911944629239991</c:v>
                </c:pt>
                <c:pt idx="9">
                  <c:v>0.0313088951087130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Speed 3 Disposable Razors 8 Pack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Speed 3 Disposable Razors 4 Pack (2.3%)</c:v>
                </c:pt>
                <c:pt idx="1">
                  <c:v>Equate Caliber 5 Disposable Razors 3 Pack (2.2%)</c:v>
                </c:pt>
                <c:pt idx="2">
                  <c:v>Equate Caliber 3 Disposable Razors 3 Pack (1.4%)</c:v>
                </c:pt>
                <c:pt idx="3">
                  <c:v>Equate 2 Blade Disposable Razors 12 Pack (5.7%)</c:v>
                </c:pt>
                <c:pt idx="4">
                  <c:v>Bic Men Sensitive Single Blade Disposable Razors 12 Pack (5.7%)</c:v>
                </c:pt>
                <c:pt idx="5">
                  <c:v>Equate 2 Blade Disposable Razors 5 Pack (5.5%)</c:v>
                </c:pt>
                <c:pt idx="6">
                  <c:v>Bic Comfort 3 Sensitive Skin Disposable Razors 4 Pack (2.0%)</c:v>
                </c:pt>
                <c:pt idx="7">
                  <c:v>None Razors (12.2%)</c:v>
                </c:pt>
                <c:pt idx="8">
                  <c:v>Schick Xtreme 3 Sensitive Disposable Razors 4 Pack (2.8%)</c:v>
                </c:pt>
                <c:pt idx="9">
                  <c:v>Bic 3 Sensitive Disposable Razors 5 Pack (1.9%)</c:v>
                </c:pt>
              </c:strCache>
            </c:strRef>
          </c:cat>
          <c:val>
            <c:numRef>
              <c:f>Sheet1!$B$2:$B$11</c:f>
              <c:numCache>
                <c:formatCode>General</c:formatCode>
                <c:ptCount val="10"/>
                <c:pt idx="0">
                  <c:v>0.22457724258780068</c:v>
                </c:pt>
                <c:pt idx="1">
                  <c:v>0.10824482738226712</c:v>
                </c:pt>
                <c:pt idx="2">
                  <c:v>0.09669727687681372</c:v>
                </c:pt>
                <c:pt idx="3">
                  <c:v>0.0949820780760523</c:v>
                </c:pt>
                <c:pt idx="4">
                  <c:v>0.08697960897194372</c:v>
                </c:pt>
                <c:pt idx="5">
                  <c:v>0.06587048649348072</c:v>
                </c:pt>
                <c:pt idx="6">
                  <c:v>0.03426374479838135</c:v>
                </c:pt>
                <c:pt idx="7">
                  <c:v>0.03368685643692635</c:v>
                </c:pt>
                <c:pt idx="8">
                  <c:v>0.03197873425132422</c:v>
                </c:pt>
                <c:pt idx="9">
                  <c:v>0.0281740079202237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Equate (2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Bic (16.9%)</c:v>
                </c:pt>
                <c:pt idx="1">
                  <c:v>Gillette (38.7%)</c:v>
                </c:pt>
                <c:pt idx="2">
                  <c:v>Schick (11.2%)</c:v>
                </c:pt>
                <c:pt idx="3">
                  <c:v>Dollar Shave Club (2.9%)</c:v>
                </c:pt>
                <c:pt idx="4">
                  <c:v>Harrys (11.2%)</c:v>
                </c:pt>
                <c:pt idx="5">
                  <c:v>Van Der Hagen (2.0%)</c:v>
                </c:pt>
              </c:strCache>
            </c:strRef>
          </c:cat>
          <c:val>
            <c:numRef>
              <c:f>Sheet1!$B$2:$B$7</c:f>
              <c:numCache>
                <c:formatCode>General</c:formatCode>
                <c:ptCount val="6"/>
                <c:pt idx="0">
                  <c:v>0.3641390065453054</c:v>
                </c:pt>
                <c:pt idx="1">
                  <c:v>0.25738688513132624</c:v>
                </c:pt>
                <c:pt idx="2">
                  <c:v>0.1781889921981553</c:v>
                </c:pt>
                <c:pt idx="3">
                  <c:v>0.03830116815952075</c:v>
                </c:pt>
                <c:pt idx="4">
                  <c:v>0.03528356432864548</c:v>
                </c:pt>
                <c:pt idx="5">
                  <c:v>0.00506955431933197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Speed 3 Disposable Razors 8 Pack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Speed 3 Disposable Razors 4 Pack (2.3%)</c:v>
                </c:pt>
                <c:pt idx="1">
                  <c:v>Equate Caliber 5 Disposable Razors 3 Pack (2.2%)</c:v>
                </c:pt>
                <c:pt idx="2">
                  <c:v>Equate Caliber 3 Disposable Razors 3 Pack (1.4%)</c:v>
                </c:pt>
                <c:pt idx="3">
                  <c:v>Bic Men Sensitive Single Blade Disposable Razors 12 Pack (5.7%)</c:v>
                </c:pt>
                <c:pt idx="4">
                  <c:v>Equate 2 Blade Disposable Razors 12 Pack (5.7%)</c:v>
                </c:pt>
                <c:pt idx="5">
                  <c:v>Equate 2 Blade Disposable Razors 5 Pack (5.5%)</c:v>
                </c:pt>
                <c:pt idx="6">
                  <c:v>Schick Xtreme 3 Sensitive Disposable Razors 4 Pack (2.8%)</c:v>
                </c:pt>
                <c:pt idx="7">
                  <c:v>Schick Xtreme 2 Sensitive Disposable Razors 12 Pack (2.7%)</c:v>
                </c:pt>
                <c:pt idx="8">
                  <c:v>Bic Comfort 3 Sensitive Skin Disposable Razors 4 Pack (2.0%)</c:v>
                </c:pt>
                <c:pt idx="9">
                  <c:v>None Razors (12.2%)</c:v>
                </c:pt>
              </c:strCache>
            </c:strRef>
          </c:cat>
          <c:val>
            <c:numRef>
              <c:f>Sheet1!$B$2:$B$11</c:f>
              <c:numCache>
                <c:formatCode>General</c:formatCode>
                <c:ptCount val="10"/>
                <c:pt idx="0">
                  <c:v>0.25789667602669564</c:v>
                </c:pt>
                <c:pt idx="1">
                  <c:v>0.11497012026024604</c:v>
                </c:pt>
                <c:pt idx="2">
                  <c:v>0.09052968150511492</c:v>
                </c:pt>
                <c:pt idx="3">
                  <c:v>0.08760864511385592</c:v>
                </c:pt>
                <c:pt idx="4">
                  <c:v>0.06575065739345888</c:v>
                </c:pt>
                <c:pt idx="5">
                  <c:v>0.04254758231765115</c:v>
                </c:pt>
                <c:pt idx="6">
                  <c:v>0.0418570854236152</c:v>
                </c:pt>
                <c:pt idx="7">
                  <c:v>0.03700260871829205</c:v>
                </c:pt>
                <c:pt idx="8">
                  <c:v>0.03254439983510917</c:v>
                </c:pt>
                <c:pt idx="9">
                  <c:v>0.02772725220372797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5 Blades 1 Handle + 2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12 Pack (5.7%)</c:v>
                </c:pt>
                <c:pt idx="1">
                  <c:v>Equate 2 Blade Disposable Razors 5 Pack (5.5%)</c:v>
                </c:pt>
                <c:pt idx="2">
                  <c:v>Schick Hydro 5 Blade Sensitive 1 Handle + 3 Cartridges (2.0%)</c:v>
                </c:pt>
                <c:pt idx="3">
                  <c:v>None Razors (12.2%)</c:v>
                </c:pt>
                <c:pt idx="4">
                  <c:v>Dollar Shave Club 6 1 Handle + 2 Blades (2.0%)</c:v>
                </c:pt>
                <c:pt idx="5">
                  <c:v>Equate Speed 3 Disposable Razors 4 Pack (2.3%)</c:v>
                </c:pt>
                <c:pt idx="6">
                  <c:v>Equate Caliber 5 Disposable Razors 3 Pack (2.2%)</c:v>
                </c:pt>
                <c:pt idx="7">
                  <c:v>Schick Xtreme 3 Sensitive Disposable Razors 4 Pack (2.8%)</c:v>
                </c:pt>
                <c:pt idx="8">
                  <c:v>Equate Easy Fit 5 blades 1 Handle + 2 Cartridges (1.1%)</c:v>
                </c:pt>
                <c:pt idx="9">
                  <c:v>Harry's 5 Blade 1 Handle + 2 Cartridges (3.9%)</c:v>
                </c:pt>
              </c:strCache>
            </c:strRef>
          </c:cat>
          <c:val>
            <c:numRef>
              <c:f>Sheet1!$B$2:$B$11</c:f>
              <c:numCache>
                <c:formatCode>General</c:formatCode>
                <c:ptCount val="10"/>
                <c:pt idx="0">
                  <c:v>0.12425833871892039</c:v>
                </c:pt>
                <c:pt idx="1">
                  <c:v>0.08346546002214678</c:v>
                </c:pt>
                <c:pt idx="2">
                  <c:v>0.07863344115050494</c:v>
                </c:pt>
                <c:pt idx="3">
                  <c:v>0.06224395681942336</c:v>
                </c:pt>
                <c:pt idx="4">
                  <c:v>0.05661169419606779</c:v>
                </c:pt>
                <c:pt idx="5">
                  <c:v>0.05481767152341243</c:v>
                </c:pt>
                <c:pt idx="6">
                  <c:v>0.04853904220688723</c:v>
                </c:pt>
                <c:pt idx="7">
                  <c:v>0.045710860840196335</c:v>
                </c:pt>
                <c:pt idx="8">
                  <c:v>0.045265857017885366</c:v>
                </c:pt>
                <c:pt idx="9">
                  <c:v>0.0436921029454586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5 Blades 1 Handle + 2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2 Blade Disposable Razors 12 Pack (5.7%)</c:v>
                </c:pt>
                <c:pt idx="1">
                  <c:v>Equate 2 Blade Disposable Razors 5 Pack (5.5%)</c:v>
                </c:pt>
                <c:pt idx="2">
                  <c:v>Equate Caliber 5 Disposable Razors 3 Pack (2.2%)</c:v>
                </c:pt>
                <c:pt idx="3">
                  <c:v>Dollar Shave Club 6 1 Handle + 2 Blades (2.0%)</c:v>
                </c:pt>
                <c:pt idx="4">
                  <c:v>None Razors (12.2%)</c:v>
                </c:pt>
                <c:pt idx="5">
                  <c:v>Equate Easy Fit 5 blades 1 Handle + 2 Cartridges (1.1%)</c:v>
                </c:pt>
                <c:pt idx="6">
                  <c:v>Equate Speed 3 Disposable Razors 4 Pack (2.3%)</c:v>
                </c:pt>
                <c:pt idx="7">
                  <c:v>Schick Hydro 5 Blade Sensitive 1 Handle + 3 Cartridges (2.0%)</c:v>
                </c:pt>
                <c:pt idx="8">
                  <c:v>Schick Xtreme 3 Sensitive Disposable Razors 4 Pack (2.8%)</c:v>
                </c:pt>
                <c:pt idx="9">
                  <c:v>Equate Caliber 3 Disposable Razors 3 Pack (1.4%)</c:v>
                </c:pt>
              </c:strCache>
            </c:strRef>
          </c:cat>
          <c:val>
            <c:numRef>
              <c:f>Sheet1!$B$2:$B$11</c:f>
              <c:numCache>
                <c:formatCode>General</c:formatCode>
                <c:ptCount val="10"/>
                <c:pt idx="0">
                  <c:v>0.11848457265279295</c:v>
                </c:pt>
                <c:pt idx="1">
                  <c:v>0.06873053477030962</c:v>
                </c:pt>
                <c:pt idx="2">
                  <c:v>0.0664043399844223</c:v>
                </c:pt>
                <c:pt idx="3">
                  <c:v>0.062279675735963776</c:v>
                </c:pt>
                <c:pt idx="4">
                  <c:v>0.059451486047839425</c:v>
                </c:pt>
                <c:pt idx="5">
                  <c:v>0.05844730571183262</c:v>
                </c:pt>
                <c:pt idx="6">
                  <c:v>0.05762516390609449</c:v>
                </c:pt>
                <c:pt idx="7">
                  <c:v>0.054593784204535305</c:v>
                </c:pt>
                <c:pt idx="8">
                  <c:v>0.04121713369694246</c:v>
                </c:pt>
                <c:pt idx="9">
                  <c:v>0.03963542747544243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Easy Fit 5 blades 1 Handle + 2 Cartridges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Razors (12.2%)</c:v>
                </c:pt>
                <c:pt idx="1">
                  <c:v>Equate 2 Blade Disposable Razors 5 Pack (5.5%)</c:v>
                </c:pt>
                <c:pt idx="2">
                  <c:v>Equate 2 Blade Disposable Razors 12 Pack (5.7%)</c:v>
                </c:pt>
                <c:pt idx="3">
                  <c:v>Equate Caliber 5 Disposable Razors 3 Pack (2.2%)</c:v>
                </c:pt>
                <c:pt idx="4">
                  <c:v>Schick Hydro 5 Blade Sensitive 1 Handle + 3 Cartridges (2.0%)</c:v>
                </c:pt>
                <c:pt idx="5">
                  <c:v>Equate Speed 3 Disposable Razors 4 Pack (2.3%)</c:v>
                </c:pt>
                <c:pt idx="6">
                  <c:v>Dollar Shave Club 6 1 Handle + 2 Blades (2.0%)</c:v>
                </c:pt>
                <c:pt idx="7">
                  <c:v>Bic Men Sensitive Single Blade Disposable Razors 12 Pack (5.7%)</c:v>
                </c:pt>
                <c:pt idx="8">
                  <c:v>Schick Xtreme 3 Sensitive Disposable Razors 4 Pack (2.8%)</c:v>
                </c:pt>
                <c:pt idx="9">
                  <c:v>Gillette Mach 3 1 Handle + 2 Cartridges (2.7%)</c:v>
                </c:pt>
              </c:strCache>
            </c:strRef>
          </c:cat>
          <c:val>
            <c:numRef>
              <c:f>Sheet1!$B$2:$B$11</c:f>
              <c:numCache>
                <c:formatCode>General</c:formatCode>
                <c:ptCount val="10"/>
                <c:pt idx="0">
                  <c:v>0.1092003079238349</c:v>
                </c:pt>
                <c:pt idx="1">
                  <c:v>0.09505042887884108</c:v>
                </c:pt>
                <c:pt idx="2">
                  <c:v>0.08444692725533336</c:v>
                </c:pt>
                <c:pt idx="3">
                  <c:v>0.07862509908554802</c:v>
                </c:pt>
                <c:pt idx="4">
                  <c:v>0.07302540696231552</c:v>
                </c:pt>
                <c:pt idx="5">
                  <c:v>0.04001465840732486</c:v>
                </c:pt>
                <c:pt idx="6">
                  <c:v>0.03905915036461305</c:v>
                </c:pt>
                <c:pt idx="7">
                  <c:v>0.039036979951047907</c:v>
                </c:pt>
                <c:pt idx="8">
                  <c:v>0.033876725263618686</c:v>
                </c:pt>
                <c:pt idx="9">
                  <c:v>0.03271847726697215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Easy Fit 5 blades 1 Handle + 2 Cartridges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Caliber 5 Disposable Razors 3 Pack (2.2%)</c:v>
                </c:pt>
                <c:pt idx="1">
                  <c:v>None Razors (12.2%)</c:v>
                </c:pt>
                <c:pt idx="2">
                  <c:v>Equate 2 Blade Disposable Razors 5 Pack (5.5%)</c:v>
                </c:pt>
                <c:pt idx="3">
                  <c:v>Equate 2 Blade Disposable Razors 12 Pack (5.7%)</c:v>
                </c:pt>
                <c:pt idx="4">
                  <c:v>None Blades (83.2%)</c:v>
                </c:pt>
                <c:pt idx="5">
                  <c:v>Bic Men Sensitive Single Blade Disposable Razors 12 Pack (5.7%)</c:v>
                </c:pt>
                <c:pt idx="6">
                  <c:v>Schick Hydro 5 Blade Sensitive 1 Handle + 3 Cartridges (2.0%)</c:v>
                </c:pt>
                <c:pt idx="7">
                  <c:v>Dollar Shave Club 6 1 Handle + 2 Blades (2.0%)</c:v>
                </c:pt>
                <c:pt idx="8">
                  <c:v>Gillette Fusion 5 1 Handle + 2 Cartridges (2.9%)</c:v>
                </c:pt>
                <c:pt idx="9">
                  <c:v>Equate Speed 3 Disposable Razors 4 Pack (2.3%)</c:v>
                </c:pt>
              </c:strCache>
            </c:strRef>
          </c:cat>
          <c:val>
            <c:numRef>
              <c:f>Sheet1!$B$2:$B$11</c:f>
              <c:numCache>
                <c:formatCode>General</c:formatCode>
                <c:ptCount val="10"/>
                <c:pt idx="0">
                  <c:v>0.12217518301140629</c:v>
                </c:pt>
                <c:pt idx="1">
                  <c:v>0.10772091149321655</c:v>
                </c:pt>
                <c:pt idx="2">
                  <c:v>0.08005598205002959</c:v>
                </c:pt>
                <c:pt idx="3">
                  <c:v>0.06786311146548672</c:v>
                </c:pt>
                <c:pt idx="4">
                  <c:v>0.05718102815633256</c:v>
                </c:pt>
                <c:pt idx="5">
                  <c:v>0.04739642224603027</c:v>
                </c:pt>
                <c:pt idx="6">
                  <c:v>0.043879378485660446</c:v>
                </c:pt>
                <c:pt idx="7">
                  <c:v>0.04365896800253377</c:v>
                </c:pt>
                <c:pt idx="8">
                  <c:v>0.03942069105234708</c:v>
                </c:pt>
                <c:pt idx="9">
                  <c:v>0.03879822101270631</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Equate Easy Fit 5 blades 1 Handle + 5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Easy Fit 5 blades 1 Handle + 2 Cartridges (1.1%)</c:v>
                </c:pt>
                <c:pt idx="1">
                  <c:v>None Razors (12.2%)</c:v>
                </c:pt>
                <c:pt idx="2">
                  <c:v>Schick Hydro 5 Blade Sensitive 1 Handle + 3 Cartridges (2.0%)</c:v>
                </c:pt>
                <c:pt idx="3">
                  <c:v>Equate Caliber 5 Disposable Razors 3 Pack (2.2%)</c:v>
                </c:pt>
                <c:pt idx="4">
                  <c:v>Gillette Fusion 5 1 Handle + 2 Cartridges (2.9%)</c:v>
                </c:pt>
                <c:pt idx="5">
                  <c:v>Gillette Mach 3 1 Handle + 2 Cartridges (2.7%)</c:v>
                </c:pt>
                <c:pt idx="6">
                  <c:v>Equate 2 Blade Disposable Razors 5 Pack (5.5%)</c:v>
                </c:pt>
                <c:pt idx="7">
                  <c:v>Dollar Shave Club 6 1 Handle + 2 Blades (2.0%)</c:v>
                </c:pt>
                <c:pt idx="8">
                  <c:v>Equate 2 Blade Disposable Razors 12 Pack (5.7%)</c:v>
                </c:pt>
                <c:pt idx="9">
                  <c:v>Gillette Fusion 5 1 Handle + 3 Cartridges Holiday Pack (1.7%)</c:v>
                </c:pt>
              </c:strCache>
            </c:strRef>
          </c:cat>
          <c:val>
            <c:numRef>
              <c:f>Sheet1!$B$2:$B$11</c:f>
              <c:numCache>
                <c:formatCode>General</c:formatCode>
                <c:ptCount val="10"/>
                <c:pt idx="0">
                  <c:v>0.12330803873138775</c:v>
                </c:pt>
                <c:pt idx="1">
                  <c:v>0.09184904021721446</c:v>
                </c:pt>
                <c:pt idx="2">
                  <c:v>0.06650312357264877</c:v>
                </c:pt>
                <c:pt idx="3">
                  <c:v>0.055112156385721964</c:v>
                </c:pt>
                <c:pt idx="4">
                  <c:v>0.05282709380292319</c:v>
                </c:pt>
                <c:pt idx="5">
                  <c:v>0.04483335043803664</c:v>
                </c:pt>
                <c:pt idx="6">
                  <c:v>0.044800073200623146</c:v>
                </c:pt>
                <c:pt idx="7">
                  <c:v>0.04340647223083343</c:v>
                </c:pt>
                <c:pt idx="8">
                  <c:v>0.040745068788541616</c:v>
                </c:pt>
                <c:pt idx="9">
                  <c:v>0.03066131210504175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Equate Easy Fit 5 blades 1 Handle + 5 Cartridges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quate Easy Fit 5 blades 1 Handle + 2 Cartridges (1.1%)</c:v>
                </c:pt>
                <c:pt idx="1">
                  <c:v>None Razors (12.2%)</c:v>
                </c:pt>
                <c:pt idx="2">
                  <c:v>Schick Hydro 5 Blade Sensitive 1 Handle + 3 Cartridges (2.0%)</c:v>
                </c:pt>
                <c:pt idx="3">
                  <c:v>Gillette Fusion 5 1 Handle + 2 Cartridges (2.9%)</c:v>
                </c:pt>
                <c:pt idx="4">
                  <c:v>Gillette Mach 3 1 Handle + 2 Cartridges (2.7%)</c:v>
                </c:pt>
                <c:pt idx="5">
                  <c:v>Dollar Shave Club 6 1 Handle + 2 Blades (2.0%)</c:v>
                </c:pt>
                <c:pt idx="6">
                  <c:v>Equate Caliber 5 Disposable Razors 3 Pack (2.2%)</c:v>
                </c:pt>
                <c:pt idx="7">
                  <c:v>Harry's 5 Blade 1 Handle + 2 Cartridges (3.9%)</c:v>
                </c:pt>
                <c:pt idx="8">
                  <c:v>Equate 2 Blade Disposable Razors 5 Pack (5.5%)</c:v>
                </c:pt>
                <c:pt idx="9">
                  <c:v>Equate 2 Blade Disposable Razors 12 Pack (5.7%)</c:v>
                </c:pt>
              </c:strCache>
            </c:strRef>
          </c:cat>
          <c:val>
            <c:numRef>
              <c:f>Sheet1!$B$2:$B$11</c:f>
              <c:numCache>
                <c:formatCode>General</c:formatCode>
                <c:ptCount val="10"/>
                <c:pt idx="0">
                  <c:v>0.10747960925480719</c:v>
                </c:pt>
                <c:pt idx="1">
                  <c:v>0.10699988106501258</c:v>
                </c:pt>
                <c:pt idx="2">
                  <c:v>0.07510793691973248</c:v>
                </c:pt>
                <c:pt idx="3">
                  <c:v>0.05866735327585809</c:v>
                </c:pt>
                <c:pt idx="4">
                  <c:v>0.052024653217830126</c:v>
                </c:pt>
                <c:pt idx="5">
                  <c:v>0.046054423934098934</c:v>
                </c:pt>
                <c:pt idx="6">
                  <c:v>0.04004883800105743</c:v>
                </c:pt>
                <c:pt idx="7">
                  <c:v>0.04001595822362849</c:v>
                </c:pt>
                <c:pt idx="8">
                  <c:v>0.034446398920899325</c:v>
                </c:pt>
                <c:pt idx="9">
                  <c:v>0.0332437008187166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3 Blade Ultra Sensitive Refills 5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5 Blade Sensitive Refills 12 Pack (0.4%)</c:v>
                </c:pt>
                <c:pt idx="3">
                  <c:v>None Razors (12.2%)</c:v>
                </c:pt>
                <c:pt idx="4">
                  <c:v>Schick Xtreme 3 Sensitive Disposable Razors 4 Pack (2.8%)</c:v>
                </c:pt>
                <c:pt idx="5">
                  <c:v>Schick Xtreme 3 Sensitive Disposable Razors 8 Pack (1.7%)</c:v>
                </c:pt>
                <c:pt idx="6">
                  <c:v>Schick Xtreme 2 Sensitive Disposable Razors 12 Pack (2.7%)</c:v>
                </c:pt>
                <c:pt idx="7">
                  <c:v>Equate Speed 3 Disposable Razors 4 Pack (2.3%)</c:v>
                </c:pt>
                <c:pt idx="8">
                  <c:v>Gillette Mach 3 1 Handle + 2 Cartridges (2.7%)</c:v>
                </c:pt>
                <c:pt idx="9">
                  <c:v>Bic Flex 4 Sensitive Skin Disposable Razors 3 Pack (1.7%)</c:v>
                </c:pt>
              </c:strCache>
            </c:strRef>
          </c:cat>
          <c:val>
            <c:numRef>
              <c:f>Sheet1!$B$2:$B$11</c:f>
              <c:numCache>
                <c:formatCode>General</c:formatCode>
                <c:ptCount val="10"/>
                <c:pt idx="0">
                  <c:v>0.5361807529260049</c:v>
                </c:pt>
                <c:pt idx="1">
                  <c:v>0.39275683897200586</c:v>
                </c:pt>
                <c:pt idx="2">
                  <c:v>0.06746780292135363</c:v>
                </c:pt>
                <c:pt idx="3">
                  <c:v>0.006628998531410329</c:v>
                </c:pt>
                <c:pt idx="4">
                  <c:v>0.005855116542691117</c:v>
                </c:pt>
                <c:pt idx="5">
                  <c:v>0.0037156046688832387</c:v>
                </c:pt>
                <c:pt idx="6">
                  <c:v>0.0032000350225531715</c:v>
                </c:pt>
                <c:pt idx="7">
                  <c:v>0.0030883376981724257</c:v>
                </c:pt>
                <c:pt idx="8">
                  <c:v>0.002548864816678429</c:v>
                </c:pt>
                <c:pt idx="9">
                  <c:v>0.00248169687503377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3 Blade Ultra Sensitive Refills 5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5 Blade Sensitive Refills 12 Pack (0.4%)</c:v>
                </c:pt>
                <c:pt idx="3">
                  <c:v>None Razors (12.2%)</c:v>
                </c:pt>
                <c:pt idx="4">
                  <c:v>Schick Xtreme 3 Sensitive Disposable Razors 4 Pack (2.8%)</c:v>
                </c:pt>
                <c:pt idx="5">
                  <c:v>Schick Xtreme 3 Sensitive Disposable Razors 8 Pack (1.7%)</c:v>
                </c:pt>
                <c:pt idx="6">
                  <c:v>Schick Xtreme 2 Sensitive Disposable Razors 12 Pack (2.7%)</c:v>
                </c:pt>
                <c:pt idx="7">
                  <c:v>Equate Speed 3 Disposable Razors 4 Pack (2.3%)</c:v>
                </c:pt>
                <c:pt idx="8">
                  <c:v>Gillette Mach 3 1 Handle + 2 Cartridges (2.7%)</c:v>
                </c:pt>
                <c:pt idx="9">
                  <c:v>Bic Flex 4 Sensitive Skin Disposable Razors 3 Pack (1.7%)</c:v>
                </c:pt>
              </c:strCache>
            </c:strRef>
          </c:cat>
          <c:val>
            <c:numRef>
              <c:f>Sheet1!$B$2:$B$11</c:f>
              <c:numCache>
                <c:formatCode>General</c:formatCode>
                <c:ptCount val="10"/>
                <c:pt idx="0">
                  <c:v>0.5797156795373767</c:v>
                </c:pt>
                <c:pt idx="1">
                  <c:v>0.358289529448149</c:v>
                </c:pt>
                <c:pt idx="2">
                  <c:v>0.06084165834085929</c:v>
                </c:pt>
                <c:pt idx="3">
                  <c:v>0.0021264765909230305</c:v>
                </c:pt>
                <c:pt idx="4">
                  <c:v>0.001878043340689826</c:v>
                </c:pt>
                <c:pt idx="5">
                  <c:v>0.0011918456960976918</c:v>
                </c:pt>
                <c:pt idx="6">
                  <c:v>0.001026427919193871</c:v>
                </c:pt>
                <c:pt idx="7">
                  <c:v>0.0009906093122096166</c:v>
                </c:pt>
                <c:pt idx="8">
                  <c:v>0.0008176741254232347</c:v>
                </c:pt>
                <c:pt idx="9">
                  <c:v>0.000796023811298368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3 Blade Pro Sensitive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5 Blade Sensitive Refills 12 Pack (0.4%)</c:v>
                </c:pt>
                <c:pt idx="3">
                  <c:v>Schick Hydro 3 Blade Ultra Sensitive Refills 5 Pack (0.0%)</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5588344927894863</c:v>
                </c:pt>
                <c:pt idx="1">
                  <c:v>0.3053840755943376</c:v>
                </c:pt>
                <c:pt idx="2">
                  <c:v>0.08540479857879303</c:v>
                </c:pt>
                <c:pt idx="3">
                  <c:v>0.0496147658225218</c:v>
                </c:pt>
                <c:pt idx="4">
                  <c:v>0.0014052140492967688</c:v>
                </c:pt>
                <c:pt idx="5">
                  <c:v>0.001241692626213022</c:v>
                </c:pt>
                <c:pt idx="6">
                  <c:v>0.0007878068258956425</c:v>
                </c:pt>
                <c:pt idx="7">
                  <c:v>0.0006786056606119016</c:v>
                </c:pt>
                <c:pt idx="8">
                  <c:v>0.0006548935905004199</c:v>
                </c:pt>
                <c:pt idx="9">
                  <c:v>0.000540196485078828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Gillette (38.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Bic (16.9%)</c:v>
                </c:pt>
                <c:pt idx="1">
                  <c:v>Equate (21.7%)</c:v>
                </c:pt>
                <c:pt idx="2">
                  <c:v>Schick (11.2%)</c:v>
                </c:pt>
                <c:pt idx="3">
                  <c:v>Harrys (11.2%)</c:v>
                </c:pt>
                <c:pt idx="4">
                  <c:v>Dollar Shave Club (2.9%)</c:v>
                </c:pt>
                <c:pt idx="5">
                  <c:v>Van Der Hagen (2.0%)</c:v>
                </c:pt>
              </c:strCache>
            </c:strRef>
          </c:cat>
          <c:val>
            <c:numRef>
              <c:f>Sheet1!$B$2:$B$7</c:f>
              <c:numCache>
                <c:formatCode>General</c:formatCode>
                <c:ptCount val="6"/>
                <c:pt idx="0">
                  <c:v>0.2562331366959967</c:v>
                </c:pt>
                <c:pt idx="1">
                  <c:v>0.23861783303312156</c:v>
                </c:pt>
                <c:pt idx="2">
                  <c:v>0.19372856222907206</c:v>
                </c:pt>
                <c:pt idx="3">
                  <c:v>0.044258636849259875</c:v>
                </c:pt>
                <c:pt idx="4">
                  <c:v>0.035364908473415974</c:v>
                </c:pt>
                <c:pt idx="5">
                  <c:v>0.0105236623849366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3 Blade Pro Sensitive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5 Blade Sensitive Refills 12 Pack (0.4%)</c:v>
                </c:pt>
                <c:pt idx="3">
                  <c:v>Schick Hydro 3 Blade Ultra Sensitive Refills 5 Pack (0.0%)</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6409796249544937</c:v>
                </c:pt>
                <c:pt idx="1">
                  <c:v>0.2382645683960852</c:v>
                </c:pt>
                <c:pt idx="2">
                  <c:v>0.06406801447192251</c:v>
                </c:pt>
                <c:pt idx="3">
                  <c:v>0.05644932064865126</c:v>
                </c:pt>
                <c:pt idx="4">
                  <c:v>0.0004398333454483189</c:v>
                </c:pt>
                <c:pt idx="5">
                  <c:v>0.0003886223345468927</c:v>
                </c:pt>
                <c:pt idx="6">
                  <c:v>0.0002465748371918365</c:v>
                </c:pt>
                <c:pt idx="7">
                  <c:v>0.00021238991196248754</c:v>
                </c:pt>
                <c:pt idx="8">
                  <c:v>0.0002049698873729997</c:v>
                </c:pt>
                <c:pt idx="9">
                  <c:v>0.000169088085336619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3 Blade Ingrown Defense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5 Blade Sensitive Refills 12 Pack (0.4%)</c:v>
                </c:pt>
                <c:pt idx="3">
                  <c:v>Schick Hydro 3 Blade Ultra Sensitive Refills 5 Pack (0.0%)</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5597042002968199</c:v>
                </c:pt>
                <c:pt idx="1">
                  <c:v>0.30612613371486996</c:v>
                </c:pt>
                <c:pt idx="2">
                  <c:v>0.07091697628304652</c:v>
                </c:pt>
                <c:pt idx="3">
                  <c:v>0.06285927145333768</c:v>
                </c:pt>
                <c:pt idx="4">
                  <c:v>0.0007255605388262347</c:v>
                </c:pt>
                <c:pt idx="5">
                  <c:v>0.0006409487422458525</c:v>
                </c:pt>
                <c:pt idx="6">
                  <c:v>0.00040671245840773846</c:v>
                </c:pt>
                <c:pt idx="7">
                  <c:v>0.00035029759852492934</c:v>
                </c:pt>
                <c:pt idx="8">
                  <c:v>0.0003380660383615619</c:v>
                </c:pt>
                <c:pt idx="9">
                  <c:v>0.0002789602467485049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3 Blade Ingrown Defense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3 Blade Ultra Sensitive Refills 5 Pack (0.0%)</c:v>
                </c:pt>
                <c:pt idx="3">
                  <c:v>Schick Hydro 5 Blade Sensitive Refills 12 Pack (0.4%)</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46195321476447637</c:v>
                </c:pt>
                <c:pt idx="1">
                  <c:v>0.38505125392415857</c:v>
                </c:pt>
                <c:pt idx="2">
                  <c:v>0.08475037446181148</c:v>
                </c:pt>
                <c:pt idx="3">
                  <c:v>0.06792450800078924</c:v>
                </c:pt>
                <c:pt idx="4">
                  <c:v>0.0005913321164771364</c:v>
                </c:pt>
                <c:pt idx="5">
                  <c:v>0.0005223157182910827</c:v>
                </c:pt>
                <c:pt idx="6">
                  <c:v>0.00033145175692645583</c:v>
                </c:pt>
                <c:pt idx="7">
                  <c:v>0.00028546382450306463</c:v>
                </c:pt>
                <c:pt idx="8">
                  <c:v>0.0002754988883085764</c:v>
                </c:pt>
                <c:pt idx="9">
                  <c:v>0.0002273649536646140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Sensitive Refills 4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5 Blade Sensitive Refills 12 Pack (0.4%)</c:v>
                </c:pt>
                <c:pt idx="3">
                  <c:v>Schick Hydro 3 Blade Ultra Sensitive Refills 5 Pack (0.0%)</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563961635696558</c:v>
                </c:pt>
                <c:pt idx="1">
                  <c:v>0.3311559030581266</c:v>
                </c:pt>
                <c:pt idx="2">
                  <c:v>0.06602154424695071</c:v>
                </c:pt>
                <c:pt idx="3">
                  <c:v>0.03826058677588461</c:v>
                </c:pt>
                <c:pt idx="4">
                  <c:v>0.0011072696319116406</c:v>
                </c:pt>
                <c:pt idx="5">
                  <c:v>0.000978419293389748</c:v>
                </c:pt>
                <c:pt idx="6">
                  <c:v>0.0006207698923615878</c:v>
                </c:pt>
                <c:pt idx="7">
                  <c:v>0.000534722407888627</c:v>
                </c:pt>
                <c:pt idx="8">
                  <c:v>0.0005160379553973194</c:v>
                </c:pt>
                <c:pt idx="9">
                  <c:v>0.000425659822781115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Sensitive Refills 4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6 Pack (0.6%)</c:v>
                </c:pt>
                <c:pt idx="2">
                  <c:v>Schick Hydro 5 Blade Sensitive Refills 12 Pack (0.4%)</c:v>
                </c:pt>
                <c:pt idx="3">
                  <c:v>Schick Hydro 3 Blade Ultra Sensitive Refills 5 Pack (0.0%)</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5957366605521373</c:v>
                </c:pt>
                <c:pt idx="1">
                  <c:v>0.29283192914640205</c:v>
                </c:pt>
                <c:pt idx="2">
                  <c:v>0.060170241067093296</c:v>
                </c:pt>
                <c:pt idx="3">
                  <c:v>0.05100444820301432</c:v>
                </c:pt>
                <c:pt idx="4">
                  <c:v>0.0004734924803895991</c:v>
                </c:pt>
                <c:pt idx="5">
                  <c:v>0.0004183624434655927</c:v>
                </c:pt>
                <c:pt idx="6">
                  <c:v>0.0002654444745307349</c:v>
                </c:pt>
                <c:pt idx="7">
                  <c:v>0.00022864347886661848</c:v>
                </c:pt>
                <c:pt idx="8">
                  <c:v>0.00022065562191173638</c:v>
                </c:pt>
                <c:pt idx="9">
                  <c:v>0.0001820278925163294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Sensitive Refills 6 Pack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12 Pack (0.4%)</c:v>
                </c:pt>
                <c:pt idx="2">
                  <c:v>Schick Hydro 3 Blade Ultra Sensitive Refills 5 Pack (0.0%)</c:v>
                </c:pt>
                <c:pt idx="3">
                  <c:v>None Razors (12.2%)</c:v>
                </c:pt>
                <c:pt idx="4">
                  <c:v>Schick Xtreme 3 Sensitive Disposable Razors 4 Pack (2.8%)</c:v>
                </c:pt>
                <c:pt idx="5">
                  <c:v>Schick Xtreme 3 Sensitive Disposable Razors 8 Pack (1.7%)</c:v>
                </c:pt>
                <c:pt idx="6">
                  <c:v>Schick Xtreme 2 Sensitive Disposable Razors 12 Pack (2.7%)</c:v>
                </c:pt>
                <c:pt idx="7">
                  <c:v>Equate Speed 3 Disposable Razors 4 Pack (2.3%)</c:v>
                </c:pt>
                <c:pt idx="8">
                  <c:v>Gillette Mach 3 1 Handle + 2 Cartridges (2.7%)</c:v>
                </c:pt>
                <c:pt idx="9">
                  <c:v>Bic Flex 4 Sensitive Skin Disposable Razors 3 Pack (1.7%)</c:v>
                </c:pt>
              </c:strCache>
            </c:strRef>
          </c:cat>
          <c:val>
            <c:numRef>
              <c:f>Sheet1!$B$2:$B$11</c:f>
              <c:numCache>
                <c:formatCode>General</c:formatCode>
                <c:ptCount val="10"/>
                <c:pt idx="0">
                  <c:v>0.7017117631565882</c:v>
                </c:pt>
                <c:pt idx="1">
                  <c:v>0.2173638156614742</c:v>
                </c:pt>
                <c:pt idx="2">
                  <c:v>0.08063766320245068</c:v>
                </c:pt>
                <c:pt idx="3">
                  <c:v>0.0005288290837339958</c:v>
                </c:pt>
                <c:pt idx="4">
                  <c:v>0.00046710176244068273</c:v>
                </c:pt>
                <c:pt idx="5">
                  <c:v>0.0002964158038780593</c:v>
                </c:pt>
                <c:pt idx="6">
                  <c:v>0.00025528774015901105</c:v>
                </c:pt>
                <c:pt idx="7">
                  <c:v>0.0002463764698877414</c:v>
                </c:pt>
                <c:pt idx="8">
                  <c:v>0.0002033340191076687</c:v>
                </c:pt>
                <c:pt idx="9">
                  <c:v>0.0001979808748238419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Sensitive Refills 6 Pack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Blades (83.2%)</c:v>
                </c:pt>
                <c:pt idx="1">
                  <c:v>Schick Hydro 5 Blade Sensitive Refills 12 Pack (0.4%)</c:v>
                </c:pt>
                <c:pt idx="2">
                  <c:v>Schick Hydro 3 Blade Ultra Sensitive Refills 5 Pack (0.0%)</c:v>
                </c:pt>
                <c:pt idx="3">
                  <c:v>None Razors (12.2%)</c:v>
                </c:pt>
                <c:pt idx="4">
                  <c:v>Schick Xtreme 3 Sensitive Disposable Razors 4 Pack (2.8%)</c:v>
                </c:pt>
                <c:pt idx="5">
                  <c:v>Schick Xtreme 3 Sensitive Disposable Razors 8 Pack (1.7%)</c:v>
                </c:pt>
                <c:pt idx="6">
                  <c:v>Schick Xtreme 2 Sensitive Disposable Razors 12 Pack (2.7%)</c:v>
                </c:pt>
                <c:pt idx="7">
                  <c:v>Equate Speed 3 Disposable Razors 4 Pack (2.3%)</c:v>
                </c:pt>
                <c:pt idx="8">
                  <c:v>Gillette Mach 3 1 Handle + 2 Cartridges (2.7%)</c:v>
                </c:pt>
                <c:pt idx="9">
                  <c:v>Bic Flex 4 Sensitive Skin Disposable Razors 3 Pack (1.7%)</c:v>
                </c:pt>
              </c:strCache>
            </c:strRef>
          </c:cat>
          <c:val>
            <c:numRef>
              <c:f>Sheet1!$B$2:$B$11</c:f>
              <c:numCache>
                <c:formatCode>General</c:formatCode>
                <c:ptCount val="10"/>
                <c:pt idx="0">
                  <c:v>0.6071015533444539</c:v>
                </c:pt>
                <c:pt idx="1">
                  <c:v>0.2633976978265304</c:v>
                </c:pt>
                <c:pt idx="2">
                  <c:v>0.1292766152874893</c:v>
                </c:pt>
                <c:pt idx="3">
                  <c:v>0.00041331726238649297</c:v>
                </c:pt>
                <c:pt idx="4">
                  <c:v>0.0003650192170623093</c:v>
                </c:pt>
                <c:pt idx="5">
                  <c:v>0.00023165213573865987</c:v>
                </c:pt>
                <c:pt idx="6">
                  <c:v>0.00019949851874299536</c:v>
                </c:pt>
                <c:pt idx="7">
                  <c:v>0.0001925372650262477</c:v>
                </c:pt>
                <c:pt idx="8">
                  <c:v>0.000158931302274231</c:v>
                </c:pt>
                <c:pt idx="9">
                  <c:v>0.0001547171161999800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Sensitive Refills 12 Pack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Refills 6 Pack (0.6%)</c:v>
                </c:pt>
                <c:pt idx="1">
                  <c:v>None Blades (83.2%)</c:v>
                </c:pt>
                <c:pt idx="2">
                  <c:v>Schick Hydro 3 Blade Ultra Sensitive Refills 5 Pack (0.0%)</c:v>
                </c:pt>
                <c:pt idx="3">
                  <c:v>None Razors (12.2%)</c:v>
                </c:pt>
                <c:pt idx="4">
                  <c:v>Schick Xtreme 3 Sensitive Disposable Razors 4 Pack (2.8%)</c:v>
                </c:pt>
                <c:pt idx="5">
                  <c:v>Schick Xtreme 3 Sensitive Disposable Razors 8 Pack (1.7%)</c:v>
                </c:pt>
                <c:pt idx="6">
                  <c:v>Schick Xtreme 2 Sensitive Disposable Razors 12 Pack (2.7%)</c:v>
                </c:pt>
                <c:pt idx="7">
                  <c:v>Equate Speed 3 Disposable Razors 4 Pack (2.3%)</c:v>
                </c:pt>
                <c:pt idx="8">
                  <c:v>Gillette Mach 3 1 Handle + 2 Cartridges (2.7%)</c:v>
                </c:pt>
                <c:pt idx="9">
                  <c:v>Bic Flex 4 Sensitive Skin Disposable Razors 3 Pack (1.7%)</c:v>
                </c:pt>
              </c:strCache>
            </c:strRef>
          </c:cat>
          <c:val>
            <c:numRef>
              <c:f>Sheet1!$B$2:$B$11</c:f>
              <c:numCache>
                <c:formatCode>General</c:formatCode>
                <c:ptCount val="10"/>
                <c:pt idx="0">
                  <c:v>0.6565087613286218</c:v>
                </c:pt>
                <c:pt idx="1">
                  <c:v>0.3224414183756268</c:v>
                </c:pt>
                <c:pt idx="2">
                  <c:v>0.020696162435648226</c:v>
                </c:pt>
                <c:pt idx="3">
                  <c:v>0.0006522146492025479</c:v>
                </c:pt>
                <c:pt idx="4">
                  <c:v>0.0005761124392962481</c:v>
                </c:pt>
                <c:pt idx="5">
                  <c:v>0.00036558405426688256</c:v>
                </c:pt>
                <c:pt idx="6">
                  <c:v>0.0003148646769410703</c:v>
                </c:pt>
                <c:pt idx="7">
                  <c:v>0.00030387245598054673</c:v>
                </c:pt>
                <c:pt idx="8">
                  <c:v>0.0002507698161039425</c:v>
                </c:pt>
                <c:pt idx="9">
                  <c:v>0.0002441830364543675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Schick Hydro 5 Blade Sensitive Refills 12 Pack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Refills 6 Pack (0.6%)</c:v>
                </c:pt>
                <c:pt idx="1">
                  <c:v>None Blades (83.2%)</c:v>
                </c:pt>
                <c:pt idx="2">
                  <c:v>Schick Hydro 3 Blade Ultra Sensitive Refills 5 Pack (0.0%)</c:v>
                </c:pt>
                <c:pt idx="3">
                  <c:v>None Razors (12.2%)</c:v>
                </c:pt>
                <c:pt idx="4">
                  <c:v>Schick Xtreme 3 Sensitive Disposable Razors 4 Pack (2.8%)</c:v>
                </c:pt>
                <c:pt idx="5">
                  <c:v>Schick Xtreme 3 Sensitive Disposable Razors 8 Pack (1.7%)</c:v>
                </c:pt>
                <c:pt idx="6">
                  <c:v>Schick Xtreme 2 Sensitive Disposable Razors 12 Pack (2.7%)</c:v>
                </c:pt>
                <c:pt idx="7">
                  <c:v>Equate Speed 3 Disposable Razors 4 Pack (2.3%)</c:v>
                </c:pt>
                <c:pt idx="8">
                  <c:v>Gillette Mach 3 1 Handle + 2 Cartridges (2.7%)</c:v>
                </c:pt>
                <c:pt idx="9">
                  <c:v>Bic Flex 4 Sensitive Skin Disposable Razors 3 Pack (1.7%)</c:v>
                </c:pt>
              </c:strCache>
            </c:strRef>
          </c:cat>
          <c:val>
            <c:numRef>
              <c:f>Sheet1!$B$2:$B$11</c:f>
              <c:numCache>
                <c:formatCode>General</c:formatCode>
                <c:ptCount val="10"/>
                <c:pt idx="0">
                  <c:v>0.6623908834370799</c:v>
                </c:pt>
                <c:pt idx="1">
                  <c:v>0.31786543854482274</c:v>
                </c:pt>
                <c:pt idx="2">
                  <c:v>0.018997425878784162</c:v>
                </c:pt>
                <c:pt idx="3">
                  <c:v>0.0013761036920571258</c:v>
                </c:pt>
                <c:pt idx="4">
                  <c:v>0.0012152135083178517</c:v>
                </c:pt>
                <c:pt idx="5">
                  <c:v>0.0007712371530395514</c:v>
                </c:pt>
                <c:pt idx="6">
                  <c:v>0.0006641698753190209</c:v>
                </c:pt>
                <c:pt idx="7">
                  <c:v>0.0006409986479776375</c:v>
                </c:pt>
                <c:pt idx="8">
                  <c:v>0.0005291661479432006</c:v>
                </c:pt>
                <c:pt idx="9">
                  <c:v>0.000515086849882043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Schick Hydro 5 Blade Advanced Hydration Refills 6 Pack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chick Hydro 5 Blade Sensitive Refills 6 Pack (0.6%)</c:v>
                </c:pt>
                <c:pt idx="1">
                  <c:v>None Blades (83.2%)</c:v>
                </c:pt>
                <c:pt idx="2">
                  <c:v>Schick Hydro 5 Blade Sensitive Refills 12 Pack (0.4%)</c:v>
                </c:pt>
                <c:pt idx="3">
                  <c:v>Schick Hydro 3 Blade Ultra Sensitive Refills 5 Pack (0.0%)</c:v>
                </c:pt>
                <c:pt idx="4">
                  <c:v>None Razors (12.2%)</c:v>
                </c:pt>
                <c:pt idx="5">
                  <c:v>Schick Xtreme 3 Sensitive Disposable Razors 4 Pack (2.8%)</c:v>
                </c:pt>
                <c:pt idx="6">
                  <c:v>Schick Xtreme 3 Sensitive Disposable Razors 8 Pack (1.7%)</c:v>
                </c:pt>
                <c:pt idx="7">
                  <c:v>Schick Xtreme 2 Sensitive Disposable Razors 12 Pack (2.7%)</c:v>
                </c:pt>
                <c:pt idx="8">
                  <c:v>Equate Speed 3 Disposable Razors 4 Pack (2.3%)</c:v>
                </c:pt>
                <c:pt idx="9">
                  <c:v>Gillette Mach 3 1 Handle + 2 Cartridges (2.7%)</c:v>
                </c:pt>
              </c:strCache>
            </c:strRef>
          </c:cat>
          <c:val>
            <c:numRef>
              <c:f>Sheet1!$B$2:$B$11</c:f>
              <c:numCache>
                <c:formatCode>General</c:formatCode>
                <c:ptCount val="10"/>
                <c:pt idx="0">
                  <c:v>0.416220414938704</c:v>
                </c:pt>
                <c:pt idx="1">
                  <c:v>0.405596850893826</c:v>
                </c:pt>
                <c:pt idx="2">
                  <c:v>0.13165985194946175</c:v>
                </c:pt>
                <c:pt idx="3">
                  <c:v>0.046152626982699695</c:v>
                </c:pt>
                <c:pt idx="4">
                  <c:v>0.0006828422103163792</c:v>
                </c:pt>
                <c:pt idx="5">
                  <c:v>0.0006032120442529724</c:v>
                </c:pt>
                <c:pt idx="6">
                  <c:v>0.00038276672889574025</c:v>
                </c:pt>
                <c:pt idx="7">
                  <c:v>0.000329673367893245</c:v>
                </c:pt>
                <c:pt idx="8">
                  <c:v>0.0003181619568797915</c:v>
                </c:pt>
                <c:pt idx="9">
                  <c:v>0.0002625360962826167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15/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8.jpeg"/><Relationship Id="rId3" Type="http://schemas.openxmlformats.org/officeDocument/2006/relationships/image" Target="../media/image29.png"/><Relationship Id="rId4" Type="http://schemas.microsoft.com/office/2007/relationships/hdphoto" Target="../media/hdphoto1.wdp"/><Relationship Id="rId5" Type="http://schemas.openxmlformats.org/officeDocument/2006/relationships/image" Target="../media/image30.png"/><Relationship Id="rId6" Type="http://schemas.microsoft.com/office/2007/relationships/hdphoto" Target="../media/hdphoto2.wdp"/></Relationships>
</file>

<file path=ppt/slideLayouts/_rels/slideLayout26.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31.emf"/><Relationship Id="rId5" Type="http://schemas.openxmlformats.org/officeDocument/2006/relationships/image" Target="../media/image32.jpeg"/><Relationship Id="rId6" Type="http://schemas.openxmlformats.org/officeDocument/2006/relationships/image" Target="../media/image33.png"/><Relationship Id="rId7" Type="http://schemas.microsoft.com/office/2007/relationships/hdphoto" Target="../media/hdphoto3.wdp"/></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34.emf"/><Relationship Id="rId5" Type="http://schemas.openxmlformats.org/officeDocument/2006/relationships/image" Target="../media/image30.png"/><Relationship Id="rId6" Type="http://schemas.microsoft.com/office/2007/relationships/hdphoto" Target="../media/hdphoto4.wdp"/><Relationship Id="rId7" Type="http://schemas.openxmlformats.org/officeDocument/2006/relationships/image" Target="../media/image29.png"/><Relationship Id="rId8" Type="http://schemas.microsoft.com/office/2007/relationships/hdphoto" Target="../media/hdphoto1.wdp"/></Relationships>
</file>

<file path=ppt/slideLayouts/_rels/slideLayout4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35.emf"/><Relationship Id="rId5" Type="http://schemas.openxmlformats.org/officeDocument/2006/relationships/image" Target="../media/image36.png"/><Relationship Id="rId6" Type="http://schemas.microsoft.com/office/2007/relationships/hdphoto" Target="../media/hdphoto5.wdp"/></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37.emf"/><Relationship Id="rId5" Type="http://schemas.openxmlformats.org/officeDocument/2006/relationships/image" Target="../media/image38.jpeg"/><Relationship Id="rId6" Type="http://schemas.openxmlformats.org/officeDocument/2006/relationships/image" Target="../media/image39.png"/><Relationship Id="rId7" Type="http://schemas.microsoft.com/office/2007/relationships/hdphoto" Target="../media/hdphoto6.wdp"/></Relationships>
</file>

<file path=ppt/slideLayouts/_rels/slideLayout5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40.emf"/><Relationship Id="rId5" Type="http://schemas.openxmlformats.org/officeDocument/2006/relationships/image" Target="../media/image41.jpeg"/><Relationship Id="rId6" Type="http://schemas.openxmlformats.org/officeDocument/2006/relationships/hyperlink" Target="https://pixabay.com/en/coffee-table-cup-break-2725265/" TargetMode="External"/><Relationship Id="rId7" Type="http://schemas.openxmlformats.org/officeDocument/2006/relationships/image" Target="../media/image42.png"/><Relationship Id="rId8" Type="http://schemas.microsoft.com/office/2007/relationships/hdphoto" Target="../media/hdphoto7.wdp"/></Relationships>
</file>

<file path=ppt/slideLayouts/_rels/slideLayout5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43.emf"/><Relationship Id="rId5" Type="http://schemas.openxmlformats.org/officeDocument/2006/relationships/image" Target="../media/image44.jpeg"/><Relationship Id="rId6" Type="http://schemas.openxmlformats.org/officeDocument/2006/relationships/image" Target="../media/image30.png"/><Relationship Id="rId7" Type="http://schemas.microsoft.com/office/2007/relationships/hdphoto" Target="../media/hdphoto8.wdp"/><Relationship Id="rId8" Type="http://schemas.openxmlformats.org/officeDocument/2006/relationships/image" Target="../media/image29.png"/><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45.emf"/><Relationship Id="rId5" Type="http://schemas.openxmlformats.org/officeDocument/2006/relationships/image" Target="../media/image46.jpeg"/><Relationship Id="rId6" Type="http://schemas.openxmlformats.org/officeDocument/2006/relationships/image" Target="../media/image47.png"/><Relationship Id="rId7" Type="http://schemas.microsoft.com/office/2007/relationships/hdphoto" Target="../media/hdphoto9.wdp"/></Relationships>
</file>

<file path=ppt/slideLayouts/_rels/slideLayout5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45.emf"/><Relationship Id="rId5" Type="http://schemas.openxmlformats.org/officeDocument/2006/relationships/image" Target="../media/image48.jpeg"/><Relationship Id="rId6" Type="http://schemas.openxmlformats.org/officeDocument/2006/relationships/image" Target="../media/image49.png"/><Relationship Id="rId7" Type="http://schemas.microsoft.com/office/2007/relationships/hdphoto" Target="../media/hdphoto10.wdp"/></Relationships>
</file>

<file path=ppt/slideLayouts/_rels/slideLayout5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Master" Target="../slideMasters/slideMaster2.xml"/><Relationship Id="rId3" Type="http://schemas.openxmlformats.org/officeDocument/2006/relationships/image" Target="../media/image50.jpeg"/><Relationship Id="rId4" Type="http://schemas.openxmlformats.org/officeDocument/2006/relationships/image" Target="../media/image51.jpeg"/><Relationship Id="rId5" Type="http://schemas.openxmlformats.org/officeDocument/2006/relationships/oleObject" Target="../embeddings/oleObject28.bin"/><Relationship Id="rId6" Type="http://schemas.openxmlformats.org/officeDocument/2006/relationships/image" Target="../media/image45.emf"/><Relationship Id="rId7" Type="http://schemas.openxmlformats.org/officeDocument/2006/relationships/image" Target="../media/image52.png"/><Relationship Id="rId8" Type="http://schemas.microsoft.com/office/2007/relationships/hdphoto" Target="../media/hdphoto11.wdp"/></Relationships>
</file>

<file path=ppt/slideLayouts/_rels/slideLayout5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3.emf"/><Relationship Id="rId5" Type="http://schemas.openxmlformats.org/officeDocument/2006/relationships/image" Target="../media/image32.jpeg"/><Relationship Id="rId6" Type="http://schemas.openxmlformats.org/officeDocument/2006/relationships/image" Target="../media/image33.png"/><Relationship Id="rId7" Type="http://schemas.microsoft.com/office/2007/relationships/hdphoto" Target="../media/hdphoto3.wdp"/></Relationships>
</file>

<file path=ppt/slideLayouts/_rels/slideLayout5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4.emf"/><Relationship Id="rId5" Type="http://schemas.openxmlformats.org/officeDocument/2006/relationships/image" Target="../media/image55.jpeg"/><Relationship Id="rId6" Type="http://schemas.openxmlformats.org/officeDocument/2006/relationships/image" Target="../media/image56.png"/><Relationship Id="rId7" Type="http://schemas.microsoft.com/office/2007/relationships/hdphoto" Target="../media/hdphoto12.wdp"/></Relationships>
</file>

<file path=ppt/slideLayouts/_rels/slideLayout5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7.emf"/><Relationship Id="rId5" Type="http://schemas.openxmlformats.org/officeDocument/2006/relationships/image" Target="../media/image58.jpeg"/><Relationship Id="rId6" Type="http://schemas.openxmlformats.org/officeDocument/2006/relationships/image" Target="../media/image59.png"/><Relationship Id="rId7" Type="http://schemas.microsoft.com/office/2007/relationships/hdphoto" Target="../media/hdphoto13.wdp"/></Relationships>
</file>

<file path=ppt/slideLayouts/_rels/slideLayout5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60.emf"/><Relationship Id="rId5" Type="http://schemas.openxmlformats.org/officeDocument/2006/relationships/image" Target="../media/image61.jpeg"/><Relationship Id="rId6" Type="http://schemas.openxmlformats.org/officeDocument/2006/relationships/image" Target="../media/image62.png"/><Relationship Id="rId7" Type="http://schemas.microsoft.com/office/2007/relationships/hdphoto" Target="../media/hdphoto14.wdp"/></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3.emf"/><Relationship Id="rId5" Type="http://schemas.openxmlformats.org/officeDocument/2006/relationships/image" Target="../media/image64.jpeg"/><Relationship Id="rId6" Type="http://schemas.openxmlformats.org/officeDocument/2006/relationships/image" Target="../media/image65.png"/><Relationship Id="rId7" Type="http://schemas.microsoft.com/office/2007/relationships/hdphoto" Target="../media/hdphoto15.wdp"/></Relationships>
</file>

<file path=ppt/slideLayouts/_rels/slideLayout6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6.emf"/><Relationship Id="rId5" Type="http://schemas.openxmlformats.org/officeDocument/2006/relationships/image" Target="../media/image67.jpeg"/><Relationship Id="rId6" Type="http://schemas.openxmlformats.org/officeDocument/2006/relationships/image" Target="../media/image68.png"/><Relationship Id="rId7" Type="http://schemas.microsoft.com/office/2007/relationships/hdphoto" Target="../media/hdphoto16.wdp"/></Relationships>
</file>

<file path=ppt/slideLayouts/_rels/slideLayout6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9.emf"/><Relationship Id="rId5" Type="http://schemas.openxmlformats.org/officeDocument/2006/relationships/image" Target="../media/image70.jpeg"/><Relationship Id="rId6" Type="http://schemas.openxmlformats.org/officeDocument/2006/relationships/image" Target="../media/image71.png"/><Relationship Id="rId7" Type="http://schemas.microsoft.com/office/2007/relationships/hdphoto" Target="../media/hdphoto17.wdp"/></Relationships>
</file>

<file path=ppt/slideLayouts/_rels/slideLayout6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2.emf"/><Relationship Id="rId5" Type="http://schemas.openxmlformats.org/officeDocument/2006/relationships/image" Target="../media/image73.jpeg"/><Relationship Id="rId6" Type="http://schemas.openxmlformats.org/officeDocument/2006/relationships/image" Target="../media/image74.png"/><Relationship Id="rId7" Type="http://schemas.microsoft.com/office/2007/relationships/hdphoto" Target="../media/hdphoto18.wdp"/></Relationships>
</file>

<file path=ppt/slideLayouts/_rels/slideLayout6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5.emf"/><Relationship Id="rId5" Type="http://schemas.openxmlformats.org/officeDocument/2006/relationships/image" Target="../media/image76.jpeg"/><Relationship Id="rId6" Type="http://schemas.openxmlformats.org/officeDocument/2006/relationships/image" Target="../media/image77.png"/><Relationship Id="rId7" Type="http://schemas.microsoft.com/office/2007/relationships/hdphoto" Target="../media/hdphoto19.wdp"/></Relationships>
</file>

<file path=ppt/slideLayouts/_rels/slideLayout6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79.jpeg"/><Relationship Id="rId6" Type="http://schemas.openxmlformats.org/officeDocument/2006/relationships/image" Target="../media/image80.png"/><Relationship Id="rId7" Type="http://schemas.microsoft.com/office/2007/relationships/hdphoto" Target="../media/hdphoto20.wdp"/></Relationships>
</file>

<file path=ppt/slideLayouts/_rels/slideLayout6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1.jpeg"/><Relationship Id="rId6" Type="http://schemas.openxmlformats.org/officeDocument/2006/relationships/image" Target="../media/image82.png"/><Relationship Id="rId7" Type="http://schemas.microsoft.com/office/2007/relationships/hdphoto" Target="../media/hdphoto21.wdp"/></Relationships>
</file>

<file path=ppt/slideLayouts/_rels/slideLayout6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3.jpeg"/><Relationship Id="rId6" Type="http://schemas.openxmlformats.org/officeDocument/2006/relationships/image" Target="../media/image84.png"/><Relationship Id="rId7" Type="http://schemas.microsoft.com/office/2007/relationships/hdphoto" Target="../media/hdphoto22.wdp"/></Relationships>
</file>

<file path=ppt/slideLayouts/_rels/slideLayout6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5.jpeg"/><Relationship Id="rId6" Type="http://schemas.openxmlformats.org/officeDocument/2006/relationships/image" Target="../media/image86.png"/><Relationship Id="rId7" Type="http://schemas.microsoft.com/office/2007/relationships/hdphoto" Target="../media/hdphoto23.wdp"/></Relationships>
</file>

<file path=ppt/slideLayouts/_rels/slideLayout6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87.emf"/><Relationship Id="rId5" Type="http://schemas.openxmlformats.org/officeDocument/2006/relationships/image" Target="../media/image88.png"/><Relationship Id="rId6" Type="http://schemas.microsoft.com/office/2007/relationships/hdphoto" Target="../media/hdphoto24.wdp"/><Relationship Id="rId7" Type="http://schemas.openxmlformats.org/officeDocument/2006/relationships/image" Target="../media/image89.png"/><Relationship Id="rId8" Type="http://schemas.microsoft.com/office/2007/relationships/hdphoto" Target="../media/hdphoto25.wdp"/></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90.emf"/><Relationship Id="rId5" Type="http://schemas.openxmlformats.org/officeDocument/2006/relationships/image" Target="../media/image36.png"/><Relationship Id="rId6" Type="http://schemas.microsoft.com/office/2007/relationships/hdphoto" Target="../media/hdphoto5.wdp"/><Relationship Id="rId7" Type="http://schemas.openxmlformats.org/officeDocument/2006/relationships/image" Target="../media/image91.png"/><Relationship Id="rId8" Type="http://schemas.openxmlformats.org/officeDocument/2006/relationships/image" Target="../media/image92.svg"/></Relationships>
</file>

<file path=ppt/slideLayouts/_rels/slideLayout7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26.emf"/><Relationship Id="rId5" Type="http://schemas.openxmlformats.org/officeDocument/2006/relationships/image" Target="../media/image27.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8/1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8/1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8/1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8/1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8/1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8/1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8/1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8/1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8/1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8/1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8/1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8/1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8/1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8/1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8/15/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8/1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8/1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slideLayout" Target="../slideLayouts/slideLayout26.xml"/><Relationship Id="rId3" Type="http://schemas.openxmlformats.org/officeDocument/2006/relationships/slideLayout" Target="../slideLayouts/slideLayout27.xml"/><Relationship Id="rId4" Type="http://schemas.openxmlformats.org/officeDocument/2006/relationships/slideLayout" Target="../slideLayouts/slideLayout28.xml"/><Relationship Id="rId5" Type="http://schemas.openxmlformats.org/officeDocument/2006/relationships/slideLayout" Target="../slideLayouts/slideLayout29.xml"/><Relationship Id="rId6" Type="http://schemas.openxmlformats.org/officeDocument/2006/relationships/slideLayout" Target="../slideLayouts/slideLayout30.xml"/><Relationship Id="rId7" Type="http://schemas.openxmlformats.org/officeDocument/2006/relationships/slideLayout" Target="../slideLayouts/slideLayout31.xml"/><Relationship Id="rId8" Type="http://schemas.openxmlformats.org/officeDocument/2006/relationships/slideLayout" Target="../slideLayouts/slideLayout32.xml"/><Relationship Id="rId9" Type="http://schemas.openxmlformats.org/officeDocument/2006/relationships/slideLayout" Target="../slideLayouts/slideLayout33.xml"/><Relationship Id="rId10" Type="http://schemas.openxmlformats.org/officeDocument/2006/relationships/slideLayout" Target="../slideLayouts/slideLayout34.xml"/><Relationship Id="rId11" Type="http://schemas.openxmlformats.org/officeDocument/2006/relationships/slideLayout" Target="../slideLayouts/slideLayout35.xml"/><Relationship Id="rId12" Type="http://schemas.openxmlformats.org/officeDocument/2006/relationships/slideLayout" Target="../slideLayouts/slideLayout36.xml"/><Relationship Id="rId13" Type="http://schemas.openxmlformats.org/officeDocument/2006/relationships/slideLayout" Target="../slideLayouts/slideLayout37.xml"/><Relationship Id="rId14" Type="http://schemas.openxmlformats.org/officeDocument/2006/relationships/slideLayout" Target="../slideLayouts/slideLayout38.xml"/><Relationship Id="rId15" Type="http://schemas.openxmlformats.org/officeDocument/2006/relationships/slideLayout" Target="../slideLayouts/slideLayout39.xml"/><Relationship Id="rId16" Type="http://schemas.openxmlformats.org/officeDocument/2006/relationships/slideLayout" Target="../slideLayouts/slideLayout40.xml"/><Relationship Id="rId17" Type="http://schemas.openxmlformats.org/officeDocument/2006/relationships/slideLayout" Target="../slideLayouts/slideLayout41.xml"/><Relationship Id="rId18" Type="http://schemas.openxmlformats.org/officeDocument/2006/relationships/slideLayout" Target="../slideLayouts/slideLayout42.xml"/><Relationship Id="rId19" Type="http://schemas.openxmlformats.org/officeDocument/2006/relationships/slideLayout" Target="../slideLayouts/slideLayout43.xml"/><Relationship Id="rId20" Type="http://schemas.openxmlformats.org/officeDocument/2006/relationships/slideLayout" Target="../slideLayouts/slideLayout44.xml"/><Relationship Id="rId21" Type="http://schemas.openxmlformats.org/officeDocument/2006/relationships/slideLayout" Target="../slideLayouts/slideLayout45.xml"/><Relationship Id="rId22" Type="http://schemas.openxmlformats.org/officeDocument/2006/relationships/slideLayout" Target="../slideLayouts/slideLayout46.xml"/><Relationship Id="rId23" Type="http://schemas.openxmlformats.org/officeDocument/2006/relationships/slideLayout" Target="../slideLayouts/slideLayout47.xml"/><Relationship Id="rId24" Type="http://schemas.openxmlformats.org/officeDocument/2006/relationships/slideLayout" Target="../slideLayouts/slideLayout48.xml"/><Relationship Id="rId25" Type="http://schemas.openxmlformats.org/officeDocument/2006/relationships/slideLayout" Target="../slideLayouts/slideLayout49.xml"/><Relationship Id="rId26" Type="http://schemas.openxmlformats.org/officeDocument/2006/relationships/slideLayout" Target="../slideLayouts/slideLayout50.xml"/><Relationship Id="rId27" Type="http://schemas.openxmlformats.org/officeDocument/2006/relationships/slideLayout" Target="../slideLayouts/slideLayout51.xml"/><Relationship Id="rId28" Type="http://schemas.openxmlformats.org/officeDocument/2006/relationships/slideLayout" Target="../slideLayouts/slideLayout52.xml"/><Relationship Id="rId29" Type="http://schemas.openxmlformats.org/officeDocument/2006/relationships/slideLayout" Target="../slideLayouts/slideLayout53.xml"/><Relationship Id="rId30" Type="http://schemas.openxmlformats.org/officeDocument/2006/relationships/slideLayout" Target="../slideLayouts/slideLayout54.xml"/><Relationship Id="rId31" Type="http://schemas.openxmlformats.org/officeDocument/2006/relationships/slideLayout" Target="../slideLayouts/slideLayout55.xml"/><Relationship Id="rId32" Type="http://schemas.openxmlformats.org/officeDocument/2006/relationships/slideLayout" Target="../slideLayouts/slideLayout56.xml"/><Relationship Id="rId33" Type="http://schemas.openxmlformats.org/officeDocument/2006/relationships/slideLayout" Target="../slideLayouts/slideLayout57.xml"/><Relationship Id="rId34" Type="http://schemas.openxmlformats.org/officeDocument/2006/relationships/slideLayout" Target="../slideLayouts/slideLayout58.xml"/><Relationship Id="rId35" Type="http://schemas.openxmlformats.org/officeDocument/2006/relationships/slideLayout" Target="../slideLayouts/slideLayout59.xml"/><Relationship Id="rId36" Type="http://schemas.openxmlformats.org/officeDocument/2006/relationships/slideLayout" Target="../slideLayouts/slideLayout60.xml"/><Relationship Id="rId37" Type="http://schemas.openxmlformats.org/officeDocument/2006/relationships/slideLayout" Target="../slideLayouts/slideLayout61.xml"/><Relationship Id="rId38" Type="http://schemas.openxmlformats.org/officeDocument/2006/relationships/slideLayout" Target="../slideLayouts/slideLayout62.xml"/><Relationship Id="rId39" Type="http://schemas.openxmlformats.org/officeDocument/2006/relationships/slideLayout" Target="../slideLayouts/slideLayout63.xml"/><Relationship Id="rId40" Type="http://schemas.openxmlformats.org/officeDocument/2006/relationships/slideLayout" Target="../slideLayouts/slideLayout64.xml"/><Relationship Id="rId41" Type="http://schemas.openxmlformats.org/officeDocument/2006/relationships/slideLayout" Target="../slideLayouts/slideLayout65.xml"/><Relationship Id="rId42" Type="http://schemas.openxmlformats.org/officeDocument/2006/relationships/slideLayout" Target="../slideLayouts/slideLayout66.xml"/><Relationship Id="rId43" Type="http://schemas.openxmlformats.org/officeDocument/2006/relationships/slideLayout" Target="../slideLayouts/slideLayout67.xml"/><Relationship Id="rId44" Type="http://schemas.openxmlformats.org/officeDocument/2006/relationships/slideLayout" Target="../slideLayouts/slideLayout68.xml"/><Relationship Id="rId45" Type="http://schemas.openxmlformats.org/officeDocument/2006/relationships/slideLayout" Target="../slideLayouts/slideLayout69.xml"/><Relationship Id="rId46" Type="http://schemas.openxmlformats.org/officeDocument/2006/relationships/slideLayout" Target="../slideLayouts/slideLayout70.xml"/><Relationship Id="rId47" Type="http://schemas.openxmlformats.org/officeDocument/2006/relationships/slideLayout" Target="../slideLayouts/slideLayout71.xml"/><Relationship Id="rId48" Type="http://schemas.openxmlformats.org/officeDocument/2006/relationships/slideLayout" Target="../slideLayouts/slideLayout72.xml"/><Relationship Id="rId49" Type="http://schemas.openxmlformats.org/officeDocument/2006/relationships/slideLayout" Target="../slideLayouts/slideLayout73.xml"/><Relationship Id="rId50" Type="http://schemas.openxmlformats.org/officeDocument/2006/relationships/slideLayout" Target="../slideLayouts/slideLayout74.xml"/><Relationship Id="rId51" Type="http://schemas.openxmlformats.org/officeDocument/2006/relationships/theme" Target="../theme/theme2.xml"/><Relationship Id="rId52" Type="http://schemas.openxmlformats.org/officeDocument/2006/relationships/tags" Target="../tags/tag28.xml"/><Relationship Id="rId53" Type="http://schemas.openxmlformats.org/officeDocument/2006/relationships/oleObject" Target="../embeddings/oleObject27.bin"/><Relationship Id="rId5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8/15/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xml"/><Relationship Id="rId3" Type="http://schemas.openxmlformats.org/officeDocument/2006/relationships/chart" Target="../charts/chart16.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5.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6.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7.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8.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9.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0.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1.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3.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xml"/><Relationship Id="rId3" Type="http://schemas.openxmlformats.org/officeDocument/2006/relationships/chart" Target="../charts/chart18.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5.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6.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7.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8.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9.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0.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1.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2.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3.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xml"/><Relationship Id="rId3" Type="http://schemas.openxmlformats.org/officeDocument/2006/relationships/chart" Target="../charts/chart20.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5.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6.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7.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8.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9.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0.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1.xml"/></Relationships>
</file>

<file path=ppt/slides/_rels/slide127.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28.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29.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xml"/><Relationship Id="rId3" Type="http://schemas.openxmlformats.org/officeDocument/2006/relationships/chart" Target="../charts/chart22.xml"/></Relationships>
</file>

<file path=ppt/slides/_rels/slide130.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31.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3.xml"/><Relationship Id="rId3" Type="http://schemas.openxmlformats.org/officeDocument/2006/relationships/chart" Target="../charts/chart2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5.xml"/><Relationship Id="rId3" Type="http://schemas.openxmlformats.org/officeDocument/2006/relationships/chart" Target="../charts/chart2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7.xml"/><Relationship Id="rId3" Type="http://schemas.openxmlformats.org/officeDocument/2006/relationships/chart" Target="../charts/chart2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9.xml"/><Relationship Id="rId3" Type="http://schemas.openxmlformats.org/officeDocument/2006/relationships/chart" Target="../charts/chart3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xml"/><Relationship Id="rId3" Type="http://schemas.openxmlformats.org/officeDocument/2006/relationships/chart" Target="../charts/chart3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xml"/><Relationship Id="rId3" Type="http://schemas.openxmlformats.org/officeDocument/2006/relationships/chart" Target="../charts/chart3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xml"/><Relationship Id="rId3" Type="http://schemas.openxmlformats.org/officeDocument/2006/relationships/chart" Target="../charts/chart3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xml"/><Relationship Id="rId3" Type="http://schemas.openxmlformats.org/officeDocument/2006/relationships/chart" Target="../charts/chart3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xml"/><Relationship Id="rId3" Type="http://schemas.openxmlformats.org/officeDocument/2006/relationships/chart" Target="../charts/chart4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xml"/><Relationship Id="rId3" Type="http://schemas.openxmlformats.org/officeDocument/2006/relationships/chart" Target="../charts/chart4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xml"/><Relationship Id="rId3" Type="http://schemas.openxmlformats.org/officeDocument/2006/relationships/chart" Target="../charts/chart4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5.xml"/><Relationship Id="rId3" Type="http://schemas.openxmlformats.org/officeDocument/2006/relationships/chart" Target="../charts/chart4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7.xml"/><Relationship Id="rId3" Type="http://schemas.openxmlformats.org/officeDocument/2006/relationships/chart" Target="../charts/chart4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9.xml"/><Relationship Id="rId3" Type="http://schemas.openxmlformats.org/officeDocument/2006/relationships/chart" Target="../charts/chart5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1.xml"/><Relationship Id="rId3" Type="http://schemas.openxmlformats.org/officeDocument/2006/relationships/chart" Target="../charts/chart5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3.xml"/><Relationship Id="rId3" Type="http://schemas.openxmlformats.org/officeDocument/2006/relationships/chart" Target="../charts/chart5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5.xml"/><Relationship Id="rId3" Type="http://schemas.openxmlformats.org/officeDocument/2006/relationships/chart" Target="../charts/chart5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7.xml"/><Relationship Id="rId3" Type="http://schemas.openxmlformats.org/officeDocument/2006/relationships/chart" Target="../charts/chart5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9.xml"/><Relationship Id="rId3" Type="http://schemas.openxmlformats.org/officeDocument/2006/relationships/chart" Target="../charts/chart6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1.xml"/><Relationship Id="rId3" Type="http://schemas.openxmlformats.org/officeDocument/2006/relationships/chart" Target="../charts/chart6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3.xml"/><Relationship Id="rId3" Type="http://schemas.openxmlformats.org/officeDocument/2006/relationships/chart" Target="../charts/chart6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5.xml"/><Relationship Id="rId3" Type="http://schemas.openxmlformats.org/officeDocument/2006/relationships/chart" Target="../charts/chart6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7.xml"/><Relationship Id="rId3" Type="http://schemas.openxmlformats.org/officeDocument/2006/relationships/chart" Target="../charts/chart6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9.xml"/><Relationship Id="rId3" Type="http://schemas.openxmlformats.org/officeDocument/2006/relationships/chart" Target="../charts/chart7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1.xml"/><Relationship Id="rId3" Type="http://schemas.openxmlformats.org/officeDocument/2006/relationships/chart" Target="../charts/chart7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3.xml"/><Relationship Id="rId3" Type="http://schemas.openxmlformats.org/officeDocument/2006/relationships/chart" Target="../charts/chart7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5.xml"/><Relationship Id="rId3" Type="http://schemas.openxmlformats.org/officeDocument/2006/relationships/chart" Target="../charts/chart7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7.xml"/><Relationship Id="rId3" Type="http://schemas.openxmlformats.org/officeDocument/2006/relationships/chart" Target="../charts/chart7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9.xml"/><Relationship Id="rId3" Type="http://schemas.openxmlformats.org/officeDocument/2006/relationships/chart" Target="../charts/chart8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1.xml"/><Relationship Id="rId3" Type="http://schemas.openxmlformats.org/officeDocument/2006/relationships/chart" Target="../charts/chart8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3.xml"/><Relationship Id="rId3" Type="http://schemas.openxmlformats.org/officeDocument/2006/relationships/chart" Target="../charts/chart8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5.xml"/><Relationship Id="rId3" Type="http://schemas.openxmlformats.org/officeDocument/2006/relationships/chart" Target="../charts/chart8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7.xml"/><Relationship Id="rId3" Type="http://schemas.openxmlformats.org/officeDocument/2006/relationships/chart" Target="../charts/chart8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9.xml"/><Relationship Id="rId3" Type="http://schemas.openxmlformats.org/officeDocument/2006/relationships/chart" Target="../charts/chart9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1.xml"/><Relationship Id="rId3" Type="http://schemas.openxmlformats.org/officeDocument/2006/relationships/chart" Target="../charts/chart9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3.xml"/><Relationship Id="rId3" Type="http://schemas.openxmlformats.org/officeDocument/2006/relationships/chart" Target="../charts/chart9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xml"/><Relationship Id="rId3" Type="http://schemas.openxmlformats.org/officeDocument/2006/relationships/chart" Target="../charts/char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5.xml"/><Relationship Id="rId3" Type="http://schemas.openxmlformats.org/officeDocument/2006/relationships/chart" Target="../charts/chart9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7.xml"/><Relationship Id="rId3" Type="http://schemas.openxmlformats.org/officeDocument/2006/relationships/chart" Target="../charts/chart9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9.xml"/><Relationship Id="rId3" Type="http://schemas.openxmlformats.org/officeDocument/2006/relationships/chart" Target="../charts/chart10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1.xml"/><Relationship Id="rId3" Type="http://schemas.openxmlformats.org/officeDocument/2006/relationships/chart" Target="../charts/chart10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3.xml"/><Relationship Id="rId3" Type="http://schemas.openxmlformats.org/officeDocument/2006/relationships/chart" Target="../charts/chart10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5.xml"/><Relationship Id="rId3" Type="http://schemas.openxmlformats.org/officeDocument/2006/relationships/chart" Target="../charts/chart10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7.xml"/><Relationship Id="rId3" Type="http://schemas.openxmlformats.org/officeDocument/2006/relationships/chart" Target="../charts/chart10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9.xml"/><Relationship Id="rId3" Type="http://schemas.openxmlformats.org/officeDocument/2006/relationships/chart" Target="../charts/chart11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1.xml"/><Relationship Id="rId3" Type="http://schemas.openxmlformats.org/officeDocument/2006/relationships/chart" Target="../charts/chart11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3.xml"/><Relationship Id="rId3" Type="http://schemas.openxmlformats.org/officeDocument/2006/relationships/chart" Target="../charts/chart1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xml"/><Relationship Id="rId3" Type="http://schemas.openxmlformats.org/officeDocument/2006/relationships/chart" Target="../charts/chart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5.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9.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0.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xml"/><Relationship Id="rId3" Type="http://schemas.openxmlformats.org/officeDocument/2006/relationships/chart" Target="../charts/chart10.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5.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7.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0.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xml"/><Relationship Id="rId3" Type="http://schemas.openxmlformats.org/officeDocument/2006/relationships/chart" Target="../charts/chart1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5.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7.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8.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9.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0.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1.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xml"/><Relationship Id="rId3" Type="http://schemas.openxmlformats.org/officeDocument/2006/relationships/chart" Target="../charts/chart14.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5.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6.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7.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8.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9.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0.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1.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3.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Manual Shave Men | Walmart</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8/1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1</a:t>
            </a:fld>
            <a:endParaRPr lang="en-US"/>
          </a:p>
        </p:txBody>
      </p:sp>
    </p:spTree>
    <p:extLst>
      <p:ext uri="{BB962C8B-B14F-4D97-AF65-F5344CB8AC3E}">
        <p14:creationId xmlns:p14="http://schemas.microsoft.com/office/powerpoint/2010/main" val="9051227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3"/>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996">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996">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996">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996">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3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996">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996">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an Der Hage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735">
                <a:tc>
                  <a:txBody>
                    <a:bodyPr/>
                    <a:lstStyle/>
                    <a:p>
                      <a:pPr algn="ctr">
                        <a:defRPr sz="800">
                          <a:latin typeface="Nexa Bold"/>
                        </a:defRPr>
                      </a:pPr>
                      <a:r>
                        <a:rPr sz="800">
                          <a:latin typeface="Nexa Bold"/>
                        </a:rPr>
                        <a:t>Gillette (3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735">
                <a:tc>
                  <a:txBody>
                    <a:bodyPr/>
                    <a:lstStyle/>
                    <a:p>
                      <a:pPr algn="ctr">
                        <a:defRPr sz="800">
                          <a:latin typeface="Nexa Bold"/>
                        </a:defRPr>
                      </a:pPr>
                      <a:r>
                        <a:rPr sz="800">
                          <a:latin typeface="Nexa Bold"/>
                        </a:rPr>
                        <a:t>Equate (2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735">
                <a:tc>
                  <a:txBody>
                    <a:bodyPr/>
                    <a:lstStyle/>
                    <a:p>
                      <a:pPr algn="ctr">
                        <a:defRPr sz="800">
                          <a:latin typeface="Nexa Bold"/>
                        </a:defRPr>
                      </a:pPr>
                      <a:r>
                        <a:rPr sz="800">
                          <a:latin typeface="Nexa Bold"/>
                        </a:rPr>
                        <a:t>Harrys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735">
                <a:tc>
                  <a:txBody>
                    <a:bodyPr/>
                    <a:lstStyle/>
                    <a:p>
                      <a:pPr algn="ctr">
                        <a:defRPr sz="800">
                          <a:latin typeface="Nexa Bold"/>
                        </a:defRPr>
                      </a:pPr>
                      <a:r>
                        <a:rPr sz="800">
                          <a:latin typeface="Nexa Bold"/>
                        </a:rPr>
                        <a:t>Bic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735">
                <a:tc>
                  <a:txBody>
                    <a:bodyPr/>
                    <a:lstStyle/>
                    <a:p>
                      <a:pPr algn="ctr">
                        <a:defRPr sz="800">
                          <a:latin typeface="Nexa Bold"/>
                        </a:defRPr>
                      </a:pPr>
                      <a:r>
                        <a:rPr sz="800">
                          <a:latin typeface="Nexa Bold"/>
                        </a:rPr>
                        <a:t>Schick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735">
                <a:tc>
                  <a:txBody>
                    <a:bodyPr/>
                    <a:lstStyle/>
                    <a:p>
                      <a:pPr algn="ctr">
                        <a:defRPr sz="800">
                          <a:latin typeface="Nexa Bold"/>
                        </a:defRPr>
                      </a:pPr>
                      <a:r>
                        <a:rPr sz="800">
                          <a:latin typeface="Nexa Bold"/>
                        </a:rPr>
                        <a:t>Van Der Hage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Dollar Shave Club (2.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413055154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Wilkinson Sword Classic Double Edge 1 Handle + 5 Cartridges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0</a:t>
            </a:fld>
            <a:endParaRPr lang="en-US"/>
          </a:p>
        </p:txBody>
      </p:sp>
      <p:sp>
        <p:nvSpPr>
          <p:cNvPr id="22" name="Rectangle 21"/>
          <p:cNvSpPr/>
          <p:nvPr/>
        </p:nvSpPr>
        <p:spPr>
          <a:xfrm>
            <a:off x="972000" y="1458000"/>
            <a:ext cx="1695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14156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1932840" y="1458000"/>
            <a:ext cx="1299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232800" y="1458000"/>
            <a:ext cx="1130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4363200" y="1458000"/>
            <a:ext cx="2260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03502374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2 Blade Disposable Razors 5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1</a:t>
            </a:fld>
            <a:endParaRPr lang="en-US"/>
          </a:p>
        </p:txBody>
      </p:sp>
      <p:sp>
        <p:nvSpPr>
          <p:cNvPr id="22" name="Rectangle 21"/>
          <p:cNvSpPr/>
          <p:nvPr/>
        </p:nvSpPr>
        <p:spPr>
          <a:xfrm>
            <a:off x="972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798000" y="1458000"/>
            <a:ext cx="28260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84231188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2 Blade Disposable Razors 12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2</a:t>
            </a:fld>
            <a:endParaRPr lang="en-US"/>
          </a:p>
        </p:txBody>
      </p:sp>
      <p:sp>
        <p:nvSpPr>
          <p:cNvPr id="22" name="Rectangle 21"/>
          <p:cNvSpPr/>
          <p:nvPr/>
        </p:nvSpPr>
        <p:spPr>
          <a:xfrm>
            <a:off x="972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798000" y="1458000"/>
            <a:ext cx="28260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47264342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2 Blade Disposable Razors 20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3</a:t>
            </a:fld>
            <a:endParaRPr lang="en-US"/>
          </a:p>
        </p:txBody>
      </p:sp>
      <p:sp>
        <p:nvSpPr>
          <p:cNvPr id="22" name="Rectangle 21"/>
          <p:cNvSpPr/>
          <p:nvPr/>
        </p:nvSpPr>
        <p:spPr>
          <a:xfrm>
            <a:off x="972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798000" y="1458000"/>
            <a:ext cx="28260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24981577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Caliber 3 Disposable Razors 3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4</a:t>
            </a:fld>
            <a:endParaRPr lang="en-US"/>
          </a:p>
        </p:txBody>
      </p:sp>
      <p:sp>
        <p:nvSpPr>
          <p:cNvPr id="22" name="Rectangle 21"/>
          <p:cNvSpPr/>
          <p:nvPr/>
        </p:nvSpPr>
        <p:spPr>
          <a:xfrm>
            <a:off x="972000" y="1458000"/>
            <a:ext cx="2430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402360" y="1458000"/>
            <a:ext cx="3221639"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77888175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Caliber 3 Disposable Razors 6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5</a:t>
            </a:fld>
            <a:endParaRPr lang="en-US"/>
          </a:p>
        </p:txBody>
      </p:sp>
      <p:sp>
        <p:nvSpPr>
          <p:cNvPr id="22" name="Rectangle 21"/>
          <p:cNvSpPr/>
          <p:nvPr/>
        </p:nvSpPr>
        <p:spPr>
          <a:xfrm>
            <a:off x="97200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11976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44762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8297171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Caliber 5 Disposable Razors 3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6</a:t>
            </a:fld>
            <a:endParaRPr lang="en-US"/>
          </a:p>
        </p:txBody>
      </p:sp>
      <p:sp>
        <p:nvSpPr>
          <p:cNvPr id="22" name="Rectangle 21"/>
          <p:cNvSpPr/>
          <p:nvPr/>
        </p:nvSpPr>
        <p:spPr>
          <a:xfrm>
            <a:off x="972000" y="1458000"/>
            <a:ext cx="2260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23280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4" name="Rectangle 23"/>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92915790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Caliber 5 Disposable Razors 6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7</a:t>
            </a:fld>
            <a:endParaRPr lang="en-US"/>
          </a:p>
        </p:txBody>
      </p:sp>
      <p:sp>
        <p:nvSpPr>
          <p:cNvPr id="22" name="Rectangle 21"/>
          <p:cNvSpPr/>
          <p:nvPr/>
        </p:nvSpPr>
        <p:spPr>
          <a:xfrm>
            <a:off x="972000" y="1458000"/>
            <a:ext cx="4239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521100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594576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55221302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Speed 3 Disposable Razors 4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8</a:t>
            </a:fld>
            <a:endParaRPr lang="en-US"/>
          </a:p>
        </p:txBody>
      </p:sp>
      <p:sp>
        <p:nvSpPr>
          <p:cNvPr id="22" name="Rectangle 21"/>
          <p:cNvSpPr/>
          <p:nvPr/>
        </p:nvSpPr>
        <p:spPr>
          <a:xfrm>
            <a:off x="972000" y="1458000"/>
            <a:ext cx="2147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119760" y="1458000"/>
            <a:ext cx="3504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88430006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Speed 3 Disposable Razors 8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9</a:t>
            </a:fld>
            <a:endParaRPr lang="en-US"/>
          </a:p>
        </p:txBody>
      </p:sp>
      <p:sp>
        <p:nvSpPr>
          <p:cNvPr id="22" name="Rectangle 21"/>
          <p:cNvSpPr/>
          <p:nvPr/>
        </p:nvSpPr>
        <p:spPr>
          <a:xfrm>
            <a:off x="972000" y="1458000"/>
            <a:ext cx="2373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34584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4193639" y="1458000"/>
            <a:ext cx="197819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6171840"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0989566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3"/>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996">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996">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3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996">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996">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996">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996">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735">
                <a:tc>
                  <a:txBody>
                    <a:bodyPr/>
                    <a:lstStyle/>
                    <a:p>
                      <a:pPr algn="ctr">
                        <a:defRPr sz="800">
                          <a:latin typeface="Nexa Bold"/>
                        </a:defRPr>
                      </a:pPr>
                      <a:r>
                        <a:rPr sz="800">
                          <a:latin typeface="Nexa Bold"/>
                        </a:rPr>
                        <a:t>Harrys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735">
                <a:tc>
                  <a:txBody>
                    <a:bodyPr/>
                    <a:lstStyle/>
                    <a:p>
                      <a:pPr algn="ctr">
                        <a:defRPr sz="800">
                          <a:latin typeface="Nexa Bold"/>
                        </a:defRPr>
                      </a:pPr>
                      <a:r>
                        <a:rPr sz="800">
                          <a:latin typeface="Nexa Bold"/>
                        </a:rPr>
                        <a:t>Gillette (3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735">
                <a:tc>
                  <a:txBody>
                    <a:bodyPr/>
                    <a:lstStyle/>
                    <a:p>
                      <a:pPr algn="ctr">
                        <a:defRPr sz="800">
                          <a:latin typeface="Nexa Bold"/>
                        </a:defRPr>
                      </a:pPr>
                      <a:r>
                        <a:rPr sz="800">
                          <a:latin typeface="Nexa Bold"/>
                        </a:rPr>
                        <a:t>Bic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735">
                <a:tc>
                  <a:txBody>
                    <a:bodyPr/>
                    <a:lstStyle/>
                    <a:p>
                      <a:pPr algn="ctr">
                        <a:defRPr sz="800">
                          <a:latin typeface="Nexa Bold"/>
                        </a:defRPr>
                      </a:pPr>
                      <a:r>
                        <a:rPr sz="800">
                          <a:latin typeface="Nexa Bold"/>
                        </a:rPr>
                        <a:t>Equate (2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735">
                <a:tc>
                  <a:txBody>
                    <a:bodyPr/>
                    <a:lstStyle/>
                    <a:p>
                      <a:pPr algn="ctr">
                        <a:defRPr sz="800">
                          <a:latin typeface="Nexa Bold"/>
                        </a:defRPr>
                      </a:pPr>
                      <a:r>
                        <a:rPr sz="800">
                          <a:latin typeface="Nexa Bold"/>
                        </a:rPr>
                        <a:t>Schick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735">
                <a:tc>
                  <a:txBody>
                    <a:bodyPr/>
                    <a:lstStyle/>
                    <a:p>
                      <a:pPr algn="ctr">
                        <a:defRPr sz="800">
                          <a:latin typeface="Nexa Bold"/>
                        </a:defRPr>
                      </a:pPr>
                      <a:r>
                        <a:rPr sz="800">
                          <a:latin typeface="Nexa Bold"/>
                        </a:rPr>
                        <a:t>Dollar Shave Club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Van Der Hagen (2.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409957138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5 Blades 1 Handle + 2 Cartridges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0</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Tree>
    <p:extLst>
      <p:ext uri="{BB962C8B-B14F-4D97-AF65-F5344CB8AC3E}">
        <p14:creationId xmlns:p14="http://schemas.microsoft.com/office/powerpoint/2010/main" val="313402228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Easy Fit 5 blades 1 Handle + 2 Cartridges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1</a:t>
            </a:fld>
            <a:endParaRPr lang="en-US"/>
          </a:p>
        </p:txBody>
      </p:sp>
      <p:sp>
        <p:nvSpPr>
          <p:cNvPr id="22" name="Rectangle 21"/>
          <p:cNvSpPr/>
          <p:nvPr/>
        </p:nvSpPr>
        <p:spPr>
          <a:xfrm>
            <a:off x="972000" y="1458000"/>
            <a:ext cx="17521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724120" y="1458000"/>
            <a:ext cx="3956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3119760" y="1458000"/>
            <a:ext cx="17521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p:cNvSpPr/>
          <p:nvPr/>
        </p:nvSpPr>
        <p:spPr>
          <a:xfrm>
            <a:off x="4871880" y="1458000"/>
            <a:ext cx="17521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50587061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Easy Fit 5 blades 1 Handle + 5 Cartridges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2</a:t>
            </a:fld>
            <a:endParaRPr lang="en-US"/>
          </a:p>
        </p:txBody>
      </p:sp>
      <p:sp>
        <p:nvSpPr>
          <p:cNvPr id="22" name="Rectangle 21"/>
          <p:cNvSpPr/>
          <p:nvPr/>
        </p:nvSpPr>
        <p:spPr>
          <a:xfrm>
            <a:off x="972000" y="1458000"/>
            <a:ext cx="960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93284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311976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798000" y="1458000"/>
            <a:ext cx="11869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4984920" y="1458000"/>
            <a:ext cx="16390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97046597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3 Blade Ultra Sensitive Refills 5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3</a:t>
            </a:fld>
            <a:endParaRPr lang="en-US"/>
          </a:p>
        </p:txBody>
      </p:sp>
      <p:sp>
        <p:nvSpPr>
          <p:cNvPr id="22" name="Rectangle 21"/>
          <p:cNvSpPr/>
          <p:nvPr/>
        </p:nvSpPr>
        <p:spPr>
          <a:xfrm>
            <a:off x="972000" y="1458000"/>
            <a:ext cx="2091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063240" y="1458000"/>
            <a:ext cx="14695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4532760" y="1458000"/>
            <a:ext cx="2091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87934221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3 Blade Pro Sensitive Refills 6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4</a:t>
            </a:fld>
            <a:endParaRPr lang="en-US"/>
          </a:p>
        </p:txBody>
      </p:sp>
      <p:sp>
        <p:nvSpPr>
          <p:cNvPr id="22" name="Rectangle 21"/>
          <p:cNvSpPr/>
          <p:nvPr/>
        </p:nvSpPr>
        <p:spPr>
          <a:xfrm>
            <a:off x="972000" y="1458000"/>
            <a:ext cx="2091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063240" y="1458000"/>
            <a:ext cx="14695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4532760" y="1458000"/>
            <a:ext cx="2091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62706251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3 Blade Ingrown Defense Refills 6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5</a:t>
            </a:fld>
            <a:endParaRPr lang="en-US"/>
          </a:p>
        </p:txBody>
      </p:sp>
      <p:sp>
        <p:nvSpPr>
          <p:cNvPr id="22" name="Rectangle 21"/>
          <p:cNvSpPr/>
          <p:nvPr/>
        </p:nvSpPr>
        <p:spPr>
          <a:xfrm>
            <a:off x="972000" y="1458000"/>
            <a:ext cx="2260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232800" y="1458000"/>
            <a:ext cx="9043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4" name="Rectangle 23"/>
          <p:cNvSpPr/>
          <p:nvPr/>
        </p:nvSpPr>
        <p:spPr>
          <a:xfrm>
            <a:off x="4137120" y="1458000"/>
            <a:ext cx="2486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828157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Sensitive Refills 4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6</a:t>
            </a:fld>
            <a:endParaRPr lang="en-US"/>
          </a:p>
        </p:txBody>
      </p:sp>
      <p:sp>
        <p:nvSpPr>
          <p:cNvPr id="22" name="Rectangle 21"/>
          <p:cNvSpPr/>
          <p:nvPr/>
        </p:nvSpPr>
        <p:spPr>
          <a:xfrm>
            <a:off x="972000" y="1458000"/>
            <a:ext cx="23173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289320" y="1458000"/>
            <a:ext cx="1695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4984920" y="1458000"/>
            <a:ext cx="1639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17682697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Sensitive Refills 6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7</a:t>
            </a:fld>
            <a:endParaRPr lang="en-US"/>
          </a:p>
        </p:txBody>
      </p:sp>
      <p:sp>
        <p:nvSpPr>
          <p:cNvPr id="22" name="Rectangle 21"/>
          <p:cNvSpPr/>
          <p:nvPr/>
        </p:nvSpPr>
        <p:spPr>
          <a:xfrm>
            <a:off x="972000" y="1458000"/>
            <a:ext cx="2260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23280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4758840" y="1458000"/>
            <a:ext cx="1865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99277207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Sensitive Refills 12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8</a:t>
            </a:fld>
            <a:endParaRPr lang="en-US"/>
          </a:p>
        </p:txBody>
      </p:sp>
      <p:sp>
        <p:nvSpPr>
          <p:cNvPr id="22" name="Rectangle 21"/>
          <p:cNvSpPr/>
          <p:nvPr/>
        </p:nvSpPr>
        <p:spPr>
          <a:xfrm>
            <a:off x="972000" y="1458000"/>
            <a:ext cx="5086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48068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3006720" y="1458000"/>
            <a:ext cx="3617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60466304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Advanced Hydration Refills 6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9</a:t>
            </a:fld>
            <a:endParaRPr lang="en-US"/>
          </a:p>
        </p:txBody>
      </p:sp>
      <p:sp>
        <p:nvSpPr>
          <p:cNvPr id="22" name="Rectangle 21"/>
          <p:cNvSpPr/>
          <p:nvPr/>
        </p:nvSpPr>
        <p:spPr>
          <a:xfrm>
            <a:off x="972000" y="1458000"/>
            <a:ext cx="2260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232800" y="1458000"/>
            <a:ext cx="9043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4137120" y="1458000"/>
            <a:ext cx="2486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4160354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2 Plus Disposable Razors 10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Xtreme 2 Sensitive Disposable Razors 12 Pack (2.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177705821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Chrome Refills 6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0</a:t>
            </a:fld>
            <a:endParaRPr lang="en-US"/>
          </a:p>
        </p:txBody>
      </p:sp>
      <p:sp>
        <p:nvSpPr>
          <p:cNvPr id="22" name="Rectangle 21"/>
          <p:cNvSpPr/>
          <p:nvPr/>
        </p:nvSpPr>
        <p:spPr>
          <a:xfrm>
            <a:off x="972000" y="1458000"/>
            <a:ext cx="2260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232800" y="1458000"/>
            <a:ext cx="3391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304164846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Quattro Four Blade Refills 3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1</a:t>
            </a:fld>
            <a:endParaRPr lang="en-US"/>
          </a:p>
        </p:txBody>
      </p:sp>
      <p:sp>
        <p:nvSpPr>
          <p:cNvPr id="22" name="Rectangle 21"/>
          <p:cNvSpPr/>
          <p:nvPr/>
        </p:nvSpPr>
        <p:spPr>
          <a:xfrm>
            <a:off x="972000" y="1458000"/>
            <a:ext cx="5652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94986991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Quattro Four Blade Refills 6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2</a:t>
            </a:fld>
            <a:endParaRPr lang="en-US"/>
          </a:p>
        </p:txBody>
      </p:sp>
      <p:sp>
        <p:nvSpPr>
          <p:cNvPr id="22" name="Rectangle 21"/>
          <p:cNvSpPr/>
          <p:nvPr/>
        </p:nvSpPr>
        <p:spPr>
          <a:xfrm>
            <a:off x="972000" y="1458000"/>
            <a:ext cx="23173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289320" y="1458000"/>
            <a:ext cx="1695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498492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p:cNvSpPr/>
          <p:nvPr/>
        </p:nvSpPr>
        <p:spPr>
          <a:xfrm>
            <a:off x="526752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78721645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5 Blades Blade Refills 4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3</a:t>
            </a:fld>
            <a:endParaRPr lang="en-US"/>
          </a:p>
        </p:txBody>
      </p:sp>
      <p:sp>
        <p:nvSpPr>
          <p:cNvPr id="22" name="Rectangle 21"/>
          <p:cNvSpPr/>
          <p:nvPr/>
        </p:nvSpPr>
        <p:spPr>
          <a:xfrm>
            <a:off x="97200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65024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238500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119760" y="1458000"/>
            <a:ext cx="3504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85706878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Easy Fit 5 Blade Refills 4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4</a:t>
            </a:fld>
            <a:endParaRPr lang="en-US"/>
          </a:p>
        </p:txBody>
      </p:sp>
      <p:sp>
        <p:nvSpPr>
          <p:cNvPr id="22" name="Rectangle 21"/>
          <p:cNvSpPr/>
          <p:nvPr/>
        </p:nvSpPr>
        <p:spPr>
          <a:xfrm>
            <a:off x="972000" y="1458000"/>
            <a:ext cx="23173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289320" y="1458000"/>
            <a:ext cx="3334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78635270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Easy Fit 5 Blade Refills 8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5</a:t>
            </a:fld>
            <a:endParaRPr lang="en-US"/>
          </a:p>
        </p:txBody>
      </p:sp>
      <p:sp>
        <p:nvSpPr>
          <p:cNvPr id="22" name="Rectangle 21"/>
          <p:cNvSpPr/>
          <p:nvPr/>
        </p:nvSpPr>
        <p:spPr>
          <a:xfrm>
            <a:off x="972000" y="1458000"/>
            <a:ext cx="2147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119760" y="1458000"/>
            <a:ext cx="3504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53289608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Equate Easy Fit 5 Blade Refills 12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6</a:t>
            </a:fld>
            <a:endParaRPr lang="en-US"/>
          </a:p>
        </p:txBody>
      </p:sp>
      <p:sp>
        <p:nvSpPr>
          <p:cNvPr id="22" name="Rectangle 21"/>
          <p:cNvSpPr/>
          <p:nvPr/>
        </p:nvSpPr>
        <p:spPr>
          <a:xfrm>
            <a:off x="972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798000" y="1458000"/>
            <a:ext cx="28260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86703917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Schick Xtreme 2 Sensitive Disposable Razors 12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8.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Schick Xtreme 2 Sensitive Disposable Razors 12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1.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Schick Xtreme 2 Sensitive Disposable Razors 2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2.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Schick Xtreme 2 Sensitive Disposable Razors 2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2.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Schick Xtreme 5 Sensitive Disposable Razors 2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4.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Schick Xtreme 5 Sensitive Disposable Razor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0.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Schick Xtreme 5 Sensitive Disposable Razor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Schick Xtreme 5 Sensitive Disposable Razors 8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Schick Xtreme 5 Sensitive Disposable Razors 8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2.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Schick Xtreme 3 Sensitive Disposable Razor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3.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2.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Schick Xtreme 3 Sensitive Disposable Razors 8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9.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Schick Xtreme 3 Sensitive Disposable Razors 8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8.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Schick Xtreme 3 Sensitive Disposable Razors 12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8.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Schick Xtreme 3 Body &amp; Groin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3.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Schick Xtreme 3 Body &amp; Groin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6.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Schick Hydro 5 Ultimate Comfort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2.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Schick Hydro 5 Ultimate Comfort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6.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Schick First 4 Blade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3.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Schick First 4 Blade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7.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Schick Hydro 3 Blade Ultra Sensitive 1 Handle + 4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7.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8/1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27</a:t>
            </a:fld>
            <a:endParaRPr lang="en-US"/>
          </a:p>
        </p:txBody>
      </p:sp>
    </p:spTree>
    <p:extLst>
      <p:ext uri="{BB962C8B-B14F-4D97-AF65-F5344CB8AC3E}">
        <p14:creationId xmlns:p14="http://schemas.microsoft.com/office/powerpoint/2010/main" val="320741369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Schick Hydro 3 Blade Ultra Sensitive 1 Handle + 4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37.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Schick Hydro 3 Blade Pro Sensitive 1 Handle + 3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2.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2.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Schick Hydro 3 Blade Pro Sensitive 1 Handle + 3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8.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Schick Hydro 3 Blade Ingrown Defense 1 Handle + 3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2.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Schick Hydro 3 Blade Ingrown Defense 1 Handle + 3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9.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Schick Hydro 5 Blade Advanced Hydration 1 Handle + 3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2.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Schick Hydro 5 Blade Advanced Hydration 1 Handle + 3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9.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Schick Hydro 5 Blade Sensitive 1 Handle + 3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3.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3.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Schick Hydro 5 Blade Sensitive 1 Handle + 3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9.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Schick Hydro 5 Blade Sensitive 1 Handle + 5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Schick Hydro 5 Blade Sensitive 1 Handle + 5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8.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Schick Hydro 5 Blade Sensitive 1 Handle + 8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Schick Hydro 5 Blade Sensitive 1 Handle + 8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Schick Hydro 5 Blade Chrome 1 Handle + 3 Cartridges + Docking Station/Stand + Travel Cover</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3.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5.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Schick Hydro 5 Blade Chrome 1 Handle + 3 Cartridges + Docking Station/Stand + Travel Cover</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Schick Quattro Four Blade 1 Handle + 4 Cartri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1.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Schick Quattro Four Blade 1 Handle + 4 Cartri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5.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Wilkinson Sword Classic Double Edge 1 Handle + 5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Wilkinson Sword Classic Double Edge 1 Handle + 5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6.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Equate 2 Blade Disposable Razors 5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4.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8/1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28</a:t>
            </a:fld>
            <a:endParaRPr lang="en-US"/>
          </a:p>
        </p:txBody>
      </p:sp>
    </p:spTree>
    <p:extLst>
      <p:ext uri="{BB962C8B-B14F-4D97-AF65-F5344CB8AC3E}">
        <p14:creationId xmlns:p14="http://schemas.microsoft.com/office/powerpoint/2010/main" val="113022007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Equate 2 Blade Disposable Razors 5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2.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8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Equate 2 Blade Disposable Razors 12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2.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92.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Equate 2 Blade Disposable Razors 12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7.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5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Equate 2 Blade Disposable Razors 20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9.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Equate 2 Blade Disposable Razors 20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2.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Equate Caliber 3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3.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Equate Caliber 3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7.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Equate Caliber 3 Disposable Razor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Equate Caliber 3 Disposable Razor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5.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Equate Caliber 5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2.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6.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Equate Caliber 5 Disposable Razor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7.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Equate Caliber 5 Disposable Razor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9.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Equate Caliber 5 Disposable Razor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Equate Speed 3 Disposable Razor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1.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Equate Speed 3 Disposable Razor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Equate Speed 3 Disposable Razors 8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2.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Equate Speed 3 Disposable Razors 8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6.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Equate 5 Blades 1 Handle + 2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6.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Equate 5 Blades 1 Handle + 2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8.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Equate Easy Fit 5 blades 1 Handle + 2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7.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8/1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29</a:t>
            </a:fld>
            <a:endParaRPr lang="en-US"/>
          </a:p>
        </p:txBody>
      </p:sp>
    </p:spTree>
    <p:extLst>
      <p:ext uri="{BB962C8B-B14F-4D97-AF65-F5344CB8AC3E}">
        <p14:creationId xmlns:p14="http://schemas.microsoft.com/office/powerpoint/2010/main" val="32947107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8.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2 Pivot Head Disposable Razors 12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2 Plus Disposable Razors 10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Gillette Sensor 2 Pivot Head Disposable Razors 12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Sensor 2 Plus Disposable Razors 10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3 Sensitive Disposable Razor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ic Men Sensitive Twin Blade Disposable Razors 10 Pack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Xtreme 2 Sensitive Disposable Razors 24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4098105151"/>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Equate Easy Fit 5 blades 1 Handle + 2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8.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Equate Easy Fit 5 blades 1 Handle + 5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6.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Equate Easy Fit 5 blades 1 Handle + 5 Cartridge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Schick Hydro 3 Blade Ultra Sensitive Refills 5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1.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Schick Hydro 3 Blade Ultra Sensitive Refills 5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7.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Schick Hydro 3 Blade Pro Sensitive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Schick Hydro 3 Blade Pro Sensitive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4.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Schick Hydro 3 Blade Ingrown Defense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3.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Schick Hydro 3 Blade Ingrown Defense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2.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Schick Hydro 5 Blade Sensitive Refill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9.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Schick Hydro 5 Blade Sensitive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6.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Schick Hydro 5 Blade Sensitive Refills 12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Schick Hydro 5 Blade Sensitive Refills 12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Schick Hydro 5 Blade Advanced Hydration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Schick Hydro 5 Blade Advanced Hydration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5.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4.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Schick Hydro 5 Blade Chrome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7.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Schick Hydro 5 Blade Chrome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5.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Schick Quattro Four Blade Refill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8.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Schick Quattro Four Blade Refills 3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3.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Schick Quattro Four Blade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4.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6.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8/1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30</a:t>
            </a:fld>
            <a:endParaRPr lang="en-US"/>
          </a:p>
        </p:txBody>
      </p:sp>
    </p:spTree>
    <p:extLst>
      <p:ext uri="{BB962C8B-B14F-4D97-AF65-F5344CB8AC3E}">
        <p14:creationId xmlns:p14="http://schemas.microsoft.com/office/powerpoint/2010/main" val="424140334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385020">
                <a:tc>
                  <a:txBody>
                    <a:bodyPr/>
                    <a:lstStyle/>
                    <a:p>
                      <a:pPr algn="l">
                        <a:defRPr sz="600" b="1">
                          <a:latin typeface="Nexa Bold"/>
                        </a:defRPr>
                      </a:pPr>
                      <a:r>
                        <a:rPr sz="600">
                          <a:latin typeface="Nexa Bold"/>
                        </a:rPr>
                        <a:t>Schick Quattro Four Blade Refills 6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6.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385020">
                <a:tc>
                  <a:txBody>
                    <a:bodyPr/>
                    <a:lstStyle/>
                    <a:p>
                      <a:pPr algn="l">
                        <a:defRPr sz="600" b="1">
                          <a:latin typeface="Nexa Bold"/>
                        </a:defRPr>
                      </a:pPr>
                      <a:r>
                        <a:rPr sz="600">
                          <a:latin typeface="Nexa Bold"/>
                        </a:rPr>
                        <a:t>Equate 5 Blades Blade Refill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5.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385020">
                <a:tc>
                  <a:txBody>
                    <a:bodyPr/>
                    <a:lstStyle/>
                    <a:p>
                      <a:pPr algn="l">
                        <a:defRPr sz="600" b="1">
                          <a:latin typeface="Nexa Bold"/>
                        </a:defRPr>
                      </a:pPr>
                      <a:r>
                        <a:rPr sz="600">
                          <a:latin typeface="Nexa Bold"/>
                        </a:rPr>
                        <a:t>Equate 5 Blades Blade Refill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9.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385020">
                <a:tc>
                  <a:txBody>
                    <a:bodyPr/>
                    <a:lstStyle/>
                    <a:p>
                      <a:pPr algn="l">
                        <a:defRPr sz="600" b="1">
                          <a:latin typeface="Nexa Bold"/>
                        </a:defRPr>
                      </a:pPr>
                      <a:r>
                        <a:rPr sz="600">
                          <a:latin typeface="Nexa Bold"/>
                        </a:rPr>
                        <a:t>Equate Easy Fit 5 Blade Refill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6.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385020">
                <a:tc>
                  <a:txBody>
                    <a:bodyPr/>
                    <a:lstStyle/>
                    <a:p>
                      <a:pPr algn="l">
                        <a:defRPr sz="600" b="1">
                          <a:latin typeface="Nexa Bold"/>
                        </a:defRPr>
                      </a:pPr>
                      <a:r>
                        <a:rPr sz="600">
                          <a:latin typeface="Nexa Bold"/>
                        </a:rPr>
                        <a:t>Equate Easy Fit 5 Blade Refills 4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385020">
                <a:tc>
                  <a:txBody>
                    <a:bodyPr/>
                    <a:lstStyle/>
                    <a:p>
                      <a:pPr algn="l">
                        <a:defRPr sz="600" b="1">
                          <a:latin typeface="Nexa Bold"/>
                        </a:defRPr>
                      </a:pPr>
                      <a:r>
                        <a:rPr sz="600">
                          <a:latin typeface="Nexa Bold"/>
                        </a:rPr>
                        <a:t>Equate Easy Fit 5 Blade Refills 8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5.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9.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385020">
                <a:tc>
                  <a:txBody>
                    <a:bodyPr/>
                    <a:lstStyle/>
                    <a:p>
                      <a:pPr algn="l">
                        <a:defRPr sz="600" b="1">
                          <a:latin typeface="Nexa Bold"/>
                        </a:defRPr>
                      </a:pPr>
                      <a:r>
                        <a:rPr sz="600">
                          <a:latin typeface="Nexa Bold"/>
                        </a:rPr>
                        <a:t>Equate Easy Fit 5 Blade Refills 8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2.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385020">
                <a:tc>
                  <a:txBody>
                    <a:bodyPr/>
                    <a:lstStyle/>
                    <a:p>
                      <a:pPr algn="l">
                        <a:defRPr sz="600" b="1">
                          <a:latin typeface="Nexa Bold"/>
                        </a:defRPr>
                      </a:pPr>
                      <a:r>
                        <a:rPr sz="600">
                          <a:latin typeface="Nexa Bold"/>
                        </a:rPr>
                        <a:t>Equate Easy Fit 5 Blade Refills 12 Pack</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8/1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31</a:t>
            </a:fld>
            <a:endParaRPr lang="en-US"/>
          </a:p>
        </p:txBody>
      </p:sp>
    </p:spTree>
    <p:extLst>
      <p:ext uri="{BB962C8B-B14F-4D97-AF65-F5344CB8AC3E}">
        <p14:creationId xmlns:p14="http://schemas.microsoft.com/office/powerpoint/2010/main" val="33826922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8.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Xtreme 5 Sensitive Disposable Razors 2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7062189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9.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Xtreme 5 Sensitive Disposable Razors 4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7294651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7.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Sensitive Disposable Razors 12 Pack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Disposable Razors 12 Pack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Xtreme 3 Sensitive Disposable Razor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Sensor 3 Sensitive Disposable Razors 12 Pack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Sensor 3 Disposable Razors 12 Pack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Sensor 3 Sensitive Disposable Razors 8 Pack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Xtreme 5 Sensitive Disposable Razors 8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18464157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7.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Xtreme 3 Sensitive Disposable Razors 4 Pack (2.8%)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8163128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9.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Xtreme 3 Sensitive Disposable Razors 8 Pack (1.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40231966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9.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7.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9.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Sensitive Disposable Razors 12 Pack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Gillette Sensor 3 Sensitive Disposable Razors 12 Pack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Gillette Sensor 3 Sensitive Disposable Razors 8 Pack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Xtreme 3 Sensitive Disposable Razors 12 Pack (0.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39903784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Dispo | Walmart</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8/1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33986042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9.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Xtreme 3 Body &amp; Groin Disposable Razors 3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36081624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Ultimate Comfort Disposable Razors 3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14352992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First 4 Blade Disposable Razors 3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7774902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9.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9.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3 Blade Ultra Sensitive 1 Handle + 4 Cartridges (0.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16568334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3 Blade Pro Sensitive 1 Handle + 3 Cartridges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25814959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3 Blade Ingrown Defense 1 Handle + 3 Cartridges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42193390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7.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5 Blade 1 Handle + 2 Cartridges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Advanced Hydration 1 Handle + 3 Cartridges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32754072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7.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chick Hydro 3 Blade Ultra Sensitive 1 Handle + 4 Cartridges (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Sensitive 1 Handle + 3 Cartridges (2.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1645559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Sensitive 1 Handle + 5 Cartridges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25501549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1 Handle + 3 Cartridges Holiday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6 Cartridges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Mach 3 1 Handle + 6 Cartridges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Gillette Fusion 5 1 Handle + 3 Cartridges Holiday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Sensitive 1 Handle + 8 Cartridges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10108456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Razor | Walmart</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8/1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11733774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9.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6 Cartridges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1 Handle + 3 Cartridges Holiday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5 Blade 1 Handle + 2 Cartridges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Mach 3 1 Handle + 6 Cartridges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Gillette Fusion 5 1 Handle + 3 Cartridges Holiday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Mach 3 Blade Refills 4 Pack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rry's 5 Blade 1 Handle + 2 Cartridges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Chrome 1 Handle + 3 Cartridges + Docking Station/Stand + Travel Cover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30402560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5 Blade 1 Handle + 2 Cartridges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rry's 5 Blade 1 Handle + 2 Cartridges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rry's 5 Blade 1 Handle + 5 Cartridges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Groomer 1 Handle + 1 Cartridge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8246260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7.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Quattro Four Blade 1 Handle + 4 Cartriges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21828857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8.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5 Blade 1 Handle + 2 Cartridges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rry's 5 Blade 1 Handle + 2 Cartridges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rry's 5 Blade 1 Handle + 5 Cartridges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rry's Men Five Blade Refills 4 Pack (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Wilkinson Sword Classic Double Edge 1 Handle + 5 Cartridges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41494327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3 Sensitive Disposable Razors 5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ic 3 Sensitive Disposable Razors 5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2 Blade Disposable Razors 5 Pack (5.5%)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36931131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3 Sensitive Disposable Razors 5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ic 3 Sensitive Disposable Razors 5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2 Blade Disposable Razors 12 Pack (5.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3356260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8.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ic 3 Sensitive Disposable Razors 5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2 Blade Disposable Razors 20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18771589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9.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Caliber 3 Disposable Razors 3 Pack (1.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23176728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8.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7.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Caliber 3 Disposable Razors 6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24849292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ic 3 Sensitive Disposable Razors 5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Caliber 5 Disposable Razors 3 Pack (2.2%)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1793289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Blade | Walmart</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8/1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24764854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8.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Sensor 3 Sensitive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Caliber 5 Disposable Razors 6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4349867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5.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8.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Speed 3 Disposable Razors 8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Sensitive Skin Disposable Razors 3 Pack (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Speed 3 Disposable Razors 4 Pack (2.3%)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28409381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9.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3 Sensitive Disposable Razors 5 Pack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ic Comfort 3 Sensitive Skin Disposable Razors 4 Pack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Speed 3 Disposable Razors 8 Pack (1.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41597409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5 Blade 1 Handle + 2 Cartridges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Caliber 3 Disposable Razors 3 Pack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5 Blades 1 Handle + 2 Cartridges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36848959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7.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ic Men Sensitive Single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Easy Fit 5 blades 1 Handle + 2 Cartridges (1.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240714882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5.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1 Handle + 3 Cartridges Holiday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Easy Fit 5 blades 1 Handle + 2 Cartridges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Hydro 5 Blade Sensitive 1 Handle + 3 Cartridg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Caliber 5 Disposable Razors 3 Pack (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rry's 5 Blade 1 Handle + 2 Cartridges (3.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2 Blade Disposable Razors 5 Pack (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2 Blade Disposable Razors 12 Pack (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Easy Fit 5 blades 1 Handle + 5 Cartridges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391064830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3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3 Blade Ultra Sensitive Refills 5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338127450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2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4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7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9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2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3 Blade Pro Sensitive Refills 6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106269981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1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4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49.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9.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3 Blade Ingrown Defense Refills 6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311927737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3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7.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1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7.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Sensitive Refills 4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254058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3"/>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996">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996">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3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996">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996">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996">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996">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an Der Hage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735">
                <a:tc>
                  <a:txBody>
                    <a:bodyPr/>
                    <a:lstStyle/>
                    <a:p>
                      <a:pPr algn="ctr">
                        <a:defRPr sz="800">
                          <a:latin typeface="Nexa Bold"/>
                        </a:defRPr>
                      </a:pPr>
                      <a:r>
                        <a:rPr sz="800">
                          <a:latin typeface="Nexa Bold"/>
                        </a:rPr>
                        <a:t>Equate (2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735">
                <a:tc>
                  <a:txBody>
                    <a:bodyPr/>
                    <a:lstStyle/>
                    <a:p>
                      <a:pPr algn="ctr">
                        <a:defRPr sz="800">
                          <a:latin typeface="Nexa Bold"/>
                        </a:defRPr>
                      </a:pPr>
                      <a:r>
                        <a:rPr sz="800">
                          <a:latin typeface="Nexa Bold"/>
                        </a:rPr>
                        <a:t>Gillette (3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735">
                <a:tc>
                  <a:txBody>
                    <a:bodyPr/>
                    <a:lstStyle/>
                    <a:p>
                      <a:pPr algn="ctr">
                        <a:defRPr sz="800">
                          <a:latin typeface="Nexa Bold"/>
                        </a:defRPr>
                      </a:pPr>
                      <a:r>
                        <a:rPr sz="800">
                          <a:latin typeface="Nexa Bold"/>
                        </a:rPr>
                        <a:t>Bic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735">
                <a:tc>
                  <a:txBody>
                    <a:bodyPr/>
                    <a:lstStyle/>
                    <a:p>
                      <a:pPr algn="ctr">
                        <a:defRPr sz="800">
                          <a:latin typeface="Nexa Bold"/>
                        </a:defRPr>
                      </a:pPr>
                      <a:r>
                        <a:rPr sz="800">
                          <a:latin typeface="Nexa Bold"/>
                        </a:rPr>
                        <a:t>Dollar Shave Club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735">
                <a:tc>
                  <a:txBody>
                    <a:bodyPr/>
                    <a:lstStyle/>
                    <a:p>
                      <a:pPr algn="ctr">
                        <a:defRPr sz="800">
                          <a:latin typeface="Nexa Bold"/>
                        </a:defRPr>
                      </a:pPr>
                      <a:r>
                        <a:rPr sz="800">
                          <a:latin typeface="Nexa Bold"/>
                        </a:rPr>
                        <a:t>Harrys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735">
                <a:tc>
                  <a:txBody>
                    <a:bodyPr/>
                    <a:lstStyle/>
                    <a:p>
                      <a:pPr algn="ctr">
                        <a:defRPr sz="800">
                          <a:latin typeface="Nexa Bold"/>
                        </a:defRPr>
                      </a:pPr>
                      <a:r>
                        <a:rPr sz="800">
                          <a:latin typeface="Nexa Bold"/>
                        </a:rPr>
                        <a:t>Van Der Hage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Schick (11.2%)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73425128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2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37.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4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Sensitive Refills 6 Pack (0.6%)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209487728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2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86.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9.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ic Flex 4 Sensitive Skin Disposable Razors 3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Sensitive Refills 12 Pack (0.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399041072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6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8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2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8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6.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Advanced Hydration Refills 6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153941933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1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75.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88.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8.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7.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Schick Hydro 3 Blade Ultra Sensitive Refills 5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3 Sensitive Disposable Razors 4 Pack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3 Sensitive Disposable Razors 8 Pack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eed 3 Disposable Razors 4 Pack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Hydro 5 Blade Chrome Refills 6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28081409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 Refills 4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Blade Refills 4 Pack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5 Sensitive Disposable Razors 8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24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5 Sensitive Disposable Razors 2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5 Sensitive Disposable Razors 4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Body &amp; Groin Disposable Razors 3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Ultimate Comfort Disposable Razors 3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rry's Men Five Blade Refills 8 Pack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Gillette Fusion 5 Proglide Blade Refills 12 Pack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Dollar Shave Club 6 Blades Blade Refills 8 Pack (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Schick Xtreme 2 Sensitive Disposable Razors 24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Xtreme 5 Sensitive Disposable Razors 2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5 Sensitive Disposable Razors 4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3 Body &amp; Groin Disposable Razors 3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chick Hydro 5 Ultimate Comfort Disposable Razors 3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Quattro Four Blade Refills 3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16516741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an Der Hagen Men Double Edge Blade Refills 10 Pack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Blade Sensitive Refills 6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5 Sensitive Disposable Razors 8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2 Sensitive Disposable Razors 24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5 Sensitive Disposable Razors 2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5 Sensitive Disposable Razors 4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Xtreme 3 Body &amp; Groin Disposable Razors 3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Hydro 5 Ultimate Comfort Disposable Razors 3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rry's Men Five Blade Refills 4 Pack (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Gillette Fusion 5 Blade Refill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Gillette Mach 3 Blade Refills 4 Pack (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Easy Fit 5 Blade Refills 4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Dollar Shave Club 6 Blades Blade Refills 4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Schick Hydro 5 Blade Sensitiv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Schick Xtreme 2 Sensitive Disposable Razors 12 Pack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Schick Xtreme 3 Body &amp; Groin Disposable Razors 3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Schick Xtreme 2 Sensitive Disposable Razors 24 Pack (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Schick Quattro Four Blade Refills 6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285631010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59.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Men Five Blade Refills 8 Pack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7.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Men Five Blade Refills 4 Pack (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9.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Men Five Blade Refill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6 Blades Blade Refills 4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an Der Hagen Men Double Edge Blade 1 Handle + 5 Cartridges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rry's Men Five Blade Refills 8 Pack (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8.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rry's Men Five Blade Refills 4 Pack (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rry's Men Five Blade Refill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Dollar Shave Club 6 1 Handle + 2 Blades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Dollar Shave Club 6 Blades Blade Refills 4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Gillette Fusion 5 1 Handle + 2 Cartridges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Van Der Hagen Men Double Edge Blade 1 Handle + 5 Cartridges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5 Blades Blade Refills 4 Pack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344660423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4.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Blade Refills 4 Pac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6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 Refills 8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7.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Proglide Blade Refills 4 Pack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Blade Refill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7.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Proglide Blade Refills 8 Pack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Proglide Blade Refills 12 Pack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Gillette Fusion 5 Blade Refills 4 Pac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Easy Fit 5 Blade Refills 8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8.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Easy Fit 5 Blad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7.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Fusion 5 Blade Refill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Fusion 5 Proglide Blade Refills 4 Pack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Fusion 5 Proglide Blade Refills 8 Pack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Gillette Fusion 5 Proglide Blade Refills 12 Pack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Easy Fit 5 Blade Refills 4 Pack (0.6%)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143867080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87.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 Refills 4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3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Blade Refills 4 Pac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9.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8.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Proglide Blade Refills 4 Pack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Blade Refill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Proglide Blade Refills 8 Pack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Proglide Blade Refills 12 Pack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Equate Easy Fit 5 Blade Refills 4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Gillette Fusion 5 Blade Refills 4 Pac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Easy Fit 5 Blade Refills 12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59.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Fusion 5 Blade Refill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Fusion 5 Proglide Blade Refills 4 Pack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Fusion 5 Proglide Blade Refills 8 Pack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Gillette Fusion 5 Proglide Blade Refills 12 Pack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Easy Fit 5 Blade Refills 8 Pack (0.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108415599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Blade Refills 4 Pac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5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 Refills 4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69.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Easy Fit 5 Blade Refills 8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26.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Blade Refill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Proglide Blade Refills 8 Pack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Proglide Blade Refills 12 Pack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Fusion 5 Proglide Blade Refills 4 Pack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one Blades (8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Easy Fit 5 Blade Refills 4 Pack (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65.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Gillette Fusion 5 Blade Refills 4 Pack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Easy Fit 5 Blade Refills 8 Pack (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77.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Gillette Fusion 5 Blade Refills 12 Pack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Gillette Fusion 5 Proglide Blade Refills 4 Pack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6.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Gillette Fusion 5 Proglide Blade Refills 8 Pack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6.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Gillette Fusion 5 Proglide Blade Refills 12 Pack (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one Razors (1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Gillette Mach 3 1 Handle + 2 Cartridges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Equate Easy Fit 5 Blade Refills 12 Pack (0.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8/1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40291079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3"/>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996">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3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996">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996">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996">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996">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996">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an Der Hage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735">
                <a:tc>
                  <a:txBody>
                    <a:bodyPr/>
                    <a:lstStyle/>
                    <a:p>
                      <a:pPr algn="ctr">
                        <a:defRPr sz="800">
                          <a:latin typeface="Nexa Bold"/>
                        </a:defRPr>
                      </a:pPr>
                      <a:r>
                        <a:rPr sz="800">
                          <a:latin typeface="Nexa Bold"/>
                        </a:rPr>
                        <a:t>Bic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735">
                <a:tc>
                  <a:txBody>
                    <a:bodyPr/>
                    <a:lstStyle/>
                    <a:p>
                      <a:pPr algn="ctr">
                        <a:defRPr sz="800">
                          <a:latin typeface="Nexa Bold"/>
                        </a:defRPr>
                      </a:pPr>
                      <a:r>
                        <a:rPr sz="800">
                          <a:latin typeface="Nexa Bold"/>
                        </a:rPr>
                        <a:t>Gillette (3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735">
                <a:tc>
                  <a:txBody>
                    <a:bodyPr/>
                    <a:lstStyle/>
                    <a:p>
                      <a:pPr algn="ctr">
                        <a:defRPr sz="800">
                          <a:latin typeface="Nexa Bold"/>
                        </a:defRPr>
                      </a:pPr>
                      <a:r>
                        <a:rPr sz="800">
                          <a:latin typeface="Nexa Bold"/>
                        </a:rPr>
                        <a:t>Schick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735">
                <a:tc>
                  <a:txBody>
                    <a:bodyPr/>
                    <a:lstStyle/>
                    <a:p>
                      <a:pPr algn="ctr">
                        <a:defRPr sz="800">
                          <a:latin typeface="Nexa Bold"/>
                        </a:defRPr>
                      </a:pPr>
                      <a:r>
                        <a:rPr sz="800">
                          <a:latin typeface="Nexa Bold"/>
                        </a:rPr>
                        <a:t>Dollar Shave Club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735">
                <a:tc>
                  <a:txBody>
                    <a:bodyPr/>
                    <a:lstStyle/>
                    <a:p>
                      <a:pPr algn="ctr">
                        <a:defRPr sz="800">
                          <a:latin typeface="Nexa Bold"/>
                        </a:defRPr>
                      </a:pPr>
                      <a:r>
                        <a:rPr sz="800">
                          <a:latin typeface="Nexa Bold"/>
                        </a:rPr>
                        <a:t>Harrys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735">
                <a:tc>
                  <a:txBody>
                    <a:bodyPr/>
                    <a:lstStyle/>
                    <a:p>
                      <a:pPr algn="ctr">
                        <a:defRPr sz="800">
                          <a:latin typeface="Nexa Bold"/>
                        </a:defRPr>
                      </a:pPr>
                      <a:r>
                        <a:rPr sz="800">
                          <a:latin typeface="Nexa Bold"/>
                        </a:rPr>
                        <a:t>Van Der Hage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Equate (21.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123526212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Disposables (1)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Xtreme 2 Sensitive Disposable Razors 12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7.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Xtreme 3 Sensitive Disposable Razors 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6.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37331543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Disposables Inno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defRPr sz="800">
                          <a:latin typeface="Nexa Book"/>
                        </a:defRPr>
                      </a:pPr>
                      <a:r>
                        <a:rPr sz="800">
                          <a:latin typeface="Nexa Book"/>
                        </a:rPr>
                        <a:t>Schick Xtreme 2 Sensitive Disposable Razors 2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Xtreme 5 Sensitive Disposable Razors 2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Xtreme 5 Sensitive Disposable Razors 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Schick Xtreme 5 Sensitive Disposable Razors 8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Schick Xtreme 3 Body &amp; Groin Disposable Razors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B8B60D"/>
                    </a:solidFill>
                  </a:tcPr>
                </a:tc>
                <a:tc>
                  <a:txBody>
                    <a:bodyPr/>
                    <a:lstStyle/>
                    <a:p>
                      <a:pPr algn="l">
                        <a:defRPr sz="800">
                          <a:latin typeface="Nexa Book"/>
                        </a:defRPr>
                      </a:pPr>
                      <a:r>
                        <a:rPr sz="800">
                          <a:latin typeface="Nexa Book"/>
                        </a:rPr>
                        <a:t>Schick Hydro 5 Ultimate Comfort Disposable Razors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8E87"/>
                    </a:solidFill>
                  </a:tcPr>
                </a:tc>
                <a:tc>
                  <a:txBody>
                    <a:bodyPr/>
                    <a:lstStyle/>
                    <a:p>
                      <a:pPr algn="l">
                        <a:defRPr sz="800">
                          <a:latin typeface="Nexa Book"/>
                        </a:defRPr>
                      </a:pPr>
                      <a:r>
                        <a:rPr sz="800">
                          <a:latin typeface="Nexa Book"/>
                        </a:rPr>
                        <a:t>Schick First 4 Blade Disposable Razors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05692036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Disposables (2)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Xtreme 3 Sensitive Disposable Razors 8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9.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Xtreme 3 Sensitive Disposable Razors 12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5.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9%</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57879123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Razors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Hydro 3 Blade Ultra Sensitive 1 Handle + 4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Hydro 5 Blade Sensitive 1 Handle + 3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8.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39797162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Razor Innovation (1)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Hydro 3 Blade Pro Sensitive 1 Handle + 3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Hydro 3 Blade Ingrown Defense 1 Handle + 3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Hydro 5 Blade Advanced Hydration 1 Handle + 3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Schick Quattro Four Blade 1 Handle + 4 Cartri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26573333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Razor Innovation (2)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Hydro 5 Blade Sensitive 1 Handle + 5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Hydro 5 Blade Sensitive 1 Handle + 8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Hydro 5 Blade Chrome 1 Handle + 3 Cartridges + Docking Station/Stand + Travel Cover</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Schick Hydro 5 Groomer 1 Handle + 1 Cartridge</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Wilkinson Sword Classic Double Edge 1 Handle + 5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5362781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Equate 2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Equate 2 Blade Disposable Razors 5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Equate 2 Blade Disposable Razors 12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5.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6653822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Equate Dispo Inno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Equate 2 Blade Disposable Razors 20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Equate Caliber 3 Disposable Razor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Equate Caliber 5 Disposable Razor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05574312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Caliber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Equate Caliber 3 Disposable Razors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4.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Equate Caliber 5 Disposable Razors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3.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346691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Speed 3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Equate Speed 3 Disposable Razors 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Equate Speed 3 Disposable Razors 8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6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799628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3"/>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996">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996">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996">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996">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996">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996">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an Der Hage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735">
                <a:tc>
                  <a:txBody>
                    <a:bodyPr/>
                    <a:lstStyle/>
                    <a:p>
                      <a:pPr algn="ctr">
                        <a:defRPr sz="800">
                          <a:latin typeface="Nexa Bold"/>
                        </a:defRPr>
                      </a:pPr>
                      <a:r>
                        <a:rPr sz="800">
                          <a:latin typeface="Nexa Bold"/>
                        </a:rPr>
                        <a:t>Bic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735">
                <a:tc>
                  <a:txBody>
                    <a:bodyPr/>
                    <a:lstStyle/>
                    <a:p>
                      <a:pPr algn="ctr">
                        <a:defRPr sz="800">
                          <a:latin typeface="Nexa Bold"/>
                        </a:defRPr>
                      </a:pPr>
                      <a:r>
                        <a:rPr sz="800">
                          <a:latin typeface="Nexa Bold"/>
                        </a:rPr>
                        <a:t>Schick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735">
                <a:tc>
                  <a:txBody>
                    <a:bodyPr/>
                    <a:lstStyle/>
                    <a:p>
                      <a:pPr algn="ctr">
                        <a:defRPr sz="800">
                          <a:latin typeface="Nexa Bold"/>
                        </a:defRPr>
                      </a:pPr>
                      <a:r>
                        <a:rPr sz="800">
                          <a:latin typeface="Nexa Bold"/>
                        </a:rPr>
                        <a:t>Equate (2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735">
                <a:tc>
                  <a:txBody>
                    <a:bodyPr/>
                    <a:lstStyle/>
                    <a:p>
                      <a:pPr algn="ctr">
                        <a:defRPr sz="800">
                          <a:latin typeface="Nexa Bold"/>
                        </a:defRPr>
                      </a:pPr>
                      <a:r>
                        <a:rPr sz="800">
                          <a:latin typeface="Nexa Bold"/>
                        </a:rPr>
                        <a:t>Harrys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735">
                <a:tc>
                  <a:txBody>
                    <a:bodyPr/>
                    <a:lstStyle/>
                    <a:p>
                      <a:pPr algn="ctr">
                        <a:defRPr sz="800">
                          <a:latin typeface="Nexa Bold"/>
                        </a:defRPr>
                      </a:pPr>
                      <a:r>
                        <a:rPr sz="800">
                          <a:latin typeface="Nexa Bold"/>
                        </a:rPr>
                        <a:t>Dollar Shave Club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735">
                <a:tc>
                  <a:txBody>
                    <a:bodyPr/>
                    <a:lstStyle/>
                    <a:p>
                      <a:pPr algn="ctr">
                        <a:defRPr sz="800">
                          <a:latin typeface="Nexa Bold"/>
                        </a:defRPr>
                      </a:pPr>
                      <a:r>
                        <a:rPr sz="800">
                          <a:latin typeface="Nexa Bold"/>
                        </a:rPr>
                        <a:t>Van Der Hage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Gillette (38.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357543474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Equate Razor Inno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Equate 5 Blades 1 Handle + 2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Equate Easy Fit 5 blades 1 Handle + 5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6975671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Easy Fit 5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Equate Easy Fit 5 blades 1 Handle + 2 Cartridges</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9350344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ydro Blades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Hydro 3 Blade Ultra Sensitive Refills 5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Hydro 5 Blade Sensitive Refill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7.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0%</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Hydro 5 Blade Sensitive Refills 12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5.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18676761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lades Innovation (1)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Hydro 3 Blade Pro Sensitive Refill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Hydro 5 Blade Sensitive Refills 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Quattro Four Blade Refills 3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Schick Quattro Four Blade Refill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73877618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lades Innovation (2)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Hydro 3 Blade Ingrown Defense Refill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Hydro 5 Blade Advanced Hydration Refill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Hydro 5 Blade Chrome Refills 6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74615083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Equate Blades Inno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Equate 5 Blades Blade Refills 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43001095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Easy Fit Blades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Equate Easy Fit 5 Blade Refills 4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6.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Equate Easy Fit 5 Blade Refills 8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9%</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Equate Easy Fit 5 Blade Refills 12 Pack</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83663341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Restage Hydro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Hydro 5 Blade Sensitive 1 Handle + 3 Cartridges Restage</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Schick Hydro 5 Blade Sensitive 1 Handle + 5 Cartridges Restage</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Hydro 5 Blade Sensitive 1 Handle + 8 Cartridges Restage</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Schick Hydro 5 Blade Sensitive Refills 6 Pack Restage</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l">
                        <a:defRPr sz="800">
                          <a:latin typeface="Nexa Book"/>
                        </a:defRPr>
                      </a:pPr>
                      <a:r>
                        <a:rPr sz="800">
                          <a:latin typeface="Nexa Book"/>
                        </a:rPr>
                        <a:t>Schick Hydro 5 Blade Sensitive Refills 12 Pack Restage</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85656317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Restage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Schick Quattro Four Blade 1 Handle + 4 Cartriges Restage</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Wilkinson Sword Classic Double Edge 1 Handle + 5 Cartridges Restage</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Schick Quattro Four Blade Refills 3 Pack Restage</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Schick Quattro Four Blade Refills 6 Pack Restage</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8/1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6054247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Xtreme 2 Sensitive Disposable Razors 12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79</a:t>
            </a:fld>
            <a:endParaRPr lang="en-US"/>
          </a:p>
        </p:txBody>
      </p:sp>
      <p:sp>
        <p:nvSpPr>
          <p:cNvPr id="22" name="Rectangle 21"/>
          <p:cNvSpPr/>
          <p:nvPr/>
        </p:nvSpPr>
        <p:spPr>
          <a:xfrm>
            <a:off x="972000" y="1458000"/>
            <a:ext cx="3504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44762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2496648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3"/>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996">
                <a:tc>
                  <a:txBody>
                    <a:bodyPr/>
                    <a:lstStyle/>
                    <a:p>
                      <a:pPr algn="ctr">
                        <a:defRPr sz="800" b="1">
                          <a:latin typeface="Nexa Bold"/>
                        </a:defRPr>
                      </a:pPr>
                      <a:r>
                        <a:rPr sz="800">
                          <a:latin typeface="Nexa Bold"/>
                        </a:rPr>
                        <a:t>3.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996">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3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996">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996">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rrys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996">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996">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an Der Hage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735">
                <a:tc>
                  <a:txBody>
                    <a:bodyPr/>
                    <a:lstStyle/>
                    <a:p>
                      <a:pPr algn="ctr">
                        <a:defRPr sz="800">
                          <a:latin typeface="Nexa Bold"/>
                        </a:defRPr>
                      </a:pPr>
                      <a:r>
                        <a:rPr sz="800">
                          <a:latin typeface="Nexa Bold"/>
                        </a:rPr>
                        <a:t>Equate (2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735">
                <a:tc>
                  <a:txBody>
                    <a:bodyPr/>
                    <a:lstStyle/>
                    <a:p>
                      <a:pPr algn="ctr">
                        <a:defRPr sz="800">
                          <a:latin typeface="Nexa Bold"/>
                        </a:defRPr>
                      </a:pPr>
                      <a:r>
                        <a:rPr sz="800">
                          <a:latin typeface="Nexa Bold"/>
                        </a:rPr>
                        <a:t>Gillette (3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735">
                <a:tc>
                  <a:txBody>
                    <a:bodyPr/>
                    <a:lstStyle/>
                    <a:p>
                      <a:pPr algn="ctr">
                        <a:defRPr sz="800">
                          <a:latin typeface="Nexa Bold"/>
                        </a:defRPr>
                      </a:pPr>
                      <a:r>
                        <a:rPr sz="800">
                          <a:latin typeface="Nexa Bold"/>
                        </a:rPr>
                        <a:t>Schick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735">
                <a:tc>
                  <a:txBody>
                    <a:bodyPr/>
                    <a:lstStyle/>
                    <a:p>
                      <a:pPr algn="ctr">
                        <a:defRPr sz="800">
                          <a:latin typeface="Nexa Bold"/>
                        </a:defRPr>
                      </a:pPr>
                      <a:r>
                        <a:rPr sz="800">
                          <a:latin typeface="Nexa Bold"/>
                        </a:rPr>
                        <a:t>Harrys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735">
                <a:tc>
                  <a:txBody>
                    <a:bodyPr/>
                    <a:lstStyle/>
                    <a:p>
                      <a:pPr algn="ctr">
                        <a:defRPr sz="800">
                          <a:latin typeface="Nexa Bold"/>
                        </a:defRPr>
                      </a:pPr>
                      <a:r>
                        <a:rPr sz="800">
                          <a:latin typeface="Nexa Bold"/>
                        </a:rPr>
                        <a:t>Dollar Shave Club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735">
                <a:tc>
                  <a:txBody>
                    <a:bodyPr/>
                    <a:lstStyle/>
                    <a:p>
                      <a:pPr algn="ctr">
                        <a:defRPr sz="800">
                          <a:latin typeface="Nexa Bold"/>
                        </a:defRPr>
                      </a:pPr>
                      <a:r>
                        <a:rPr sz="800">
                          <a:latin typeface="Nexa Bold"/>
                        </a:rPr>
                        <a:t>Van Der Hage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ic (16.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414734708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Xtreme 2 Sensitive Disposable Razors 24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0</a:t>
            </a:fld>
            <a:endParaRPr lang="en-US"/>
          </a:p>
        </p:txBody>
      </p:sp>
      <p:sp>
        <p:nvSpPr>
          <p:cNvPr id="22" name="Rectangle 21"/>
          <p:cNvSpPr/>
          <p:nvPr/>
        </p:nvSpPr>
        <p:spPr>
          <a:xfrm>
            <a:off x="972000" y="1458000"/>
            <a:ext cx="960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93284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311976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798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77331345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Xtreme 5 Sensitive Disposable Razors 2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1</a:t>
            </a:fld>
            <a:endParaRPr lang="en-US"/>
          </a:p>
        </p:txBody>
      </p:sp>
      <p:sp>
        <p:nvSpPr>
          <p:cNvPr id="22" name="Rectangle 21"/>
          <p:cNvSpPr/>
          <p:nvPr/>
        </p:nvSpPr>
        <p:spPr>
          <a:xfrm>
            <a:off x="972000" y="1458000"/>
            <a:ext cx="5652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86909724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Xtreme 5 Sensitive Disposable Razors 4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2</a:t>
            </a:fld>
            <a:endParaRPr lang="en-US"/>
          </a:p>
        </p:txBody>
      </p:sp>
      <p:sp>
        <p:nvSpPr>
          <p:cNvPr id="22" name="Rectangle 21"/>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42416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193284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11976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379800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4758840" y="1458000"/>
            <a:ext cx="1865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37022216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Xtreme 5 Sensitive Disposable Razors 8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3</a:t>
            </a:fld>
            <a:endParaRPr lang="en-US"/>
          </a:p>
        </p:txBody>
      </p:sp>
      <p:sp>
        <p:nvSpPr>
          <p:cNvPr id="22" name="Rectangle 21"/>
          <p:cNvSpPr/>
          <p:nvPr/>
        </p:nvSpPr>
        <p:spPr>
          <a:xfrm>
            <a:off x="972000" y="1458000"/>
            <a:ext cx="395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36764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21024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119760" y="1458000"/>
            <a:ext cx="3504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02680933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Xtreme 3 Sensitive Disposable Razors 4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4</a:t>
            </a:fld>
            <a:endParaRPr lang="en-US"/>
          </a:p>
        </p:txBody>
      </p:sp>
      <p:sp>
        <p:nvSpPr>
          <p:cNvPr id="22" name="Rectangle 21"/>
          <p:cNvSpPr/>
          <p:nvPr/>
        </p:nvSpPr>
        <p:spPr>
          <a:xfrm>
            <a:off x="972000" y="1458000"/>
            <a:ext cx="5652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91611525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Xtreme 3 Sensitive Disposable Razors 8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5</a:t>
            </a:fld>
            <a:endParaRPr lang="en-US"/>
          </a:p>
        </p:txBody>
      </p:sp>
      <p:sp>
        <p:nvSpPr>
          <p:cNvPr id="22" name="Rectangle 21"/>
          <p:cNvSpPr/>
          <p:nvPr/>
        </p:nvSpPr>
        <p:spPr>
          <a:xfrm>
            <a:off x="97200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81980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950200" y="1458000"/>
            <a:ext cx="2543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p:cNvSpPr/>
          <p:nvPr/>
        </p:nvSpPr>
        <p:spPr>
          <a:xfrm>
            <a:off x="54936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79949339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Xtreme 3 Sensitive Disposable Razors 12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6</a:t>
            </a:fld>
            <a:endParaRPr lang="en-US"/>
          </a:p>
        </p:txBody>
      </p:sp>
      <p:sp>
        <p:nvSpPr>
          <p:cNvPr id="22" name="Rectangle 21"/>
          <p:cNvSpPr/>
          <p:nvPr/>
        </p:nvSpPr>
        <p:spPr>
          <a:xfrm>
            <a:off x="972000" y="1458000"/>
            <a:ext cx="2260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3232800" y="1458000"/>
            <a:ext cx="3391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08065088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Xtreme 3 Body &amp; Groin Disposable Razors 3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7</a:t>
            </a:fld>
            <a:endParaRPr lang="en-US"/>
          </a:p>
        </p:txBody>
      </p:sp>
      <p:sp>
        <p:nvSpPr>
          <p:cNvPr id="22" name="Rectangle 21"/>
          <p:cNvSpPr/>
          <p:nvPr/>
        </p:nvSpPr>
        <p:spPr>
          <a:xfrm>
            <a:off x="97200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59372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4532760" y="1458000"/>
            <a:ext cx="2091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46025504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Ultimate Comfort Disposable Razors 3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8</a:t>
            </a:fld>
            <a:endParaRPr lang="en-US"/>
          </a:p>
        </p:txBody>
      </p:sp>
      <p:sp>
        <p:nvSpPr>
          <p:cNvPr id="22" name="Rectangle 21"/>
          <p:cNvSpPr/>
          <p:nvPr/>
        </p:nvSpPr>
        <p:spPr>
          <a:xfrm>
            <a:off x="97200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59372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4532760" y="1458000"/>
            <a:ext cx="2091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259685617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First 4 Blade Disposable Razors 3 Pack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89</a:t>
            </a:fld>
            <a:endParaRPr lang="en-US"/>
          </a:p>
        </p:txBody>
      </p:sp>
      <p:sp>
        <p:nvSpPr>
          <p:cNvPr id="22" name="Rectangle 21"/>
          <p:cNvSpPr/>
          <p:nvPr/>
        </p:nvSpPr>
        <p:spPr>
          <a:xfrm>
            <a:off x="972000" y="1458000"/>
            <a:ext cx="1299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271960" y="1458000"/>
            <a:ext cx="4352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2020456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3"/>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996">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illette (3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996">
                <a:tc>
                  <a:txBody>
                    <a:bodyPr/>
                    <a:lstStyle/>
                    <a:p>
                      <a:pPr algn="ctr">
                        <a:defRPr sz="800" b="1">
                          <a:latin typeface="Nexa Bold"/>
                        </a:defRPr>
                      </a:pPr>
                      <a:r>
                        <a:rPr sz="800">
                          <a:latin typeface="Nexa Bold"/>
                        </a:rPr>
                        <a:t>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Dollar Shave Club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996">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ic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996">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2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996">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Schick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996">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Van Der Hage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528735">
                <a:tc>
                  <a:txBody>
                    <a:bodyPr/>
                    <a:lstStyle/>
                    <a:p>
                      <a:pPr algn="ctr">
                        <a:defRPr sz="800">
                          <a:latin typeface="Nexa Bold"/>
                        </a:defRPr>
                      </a:pPr>
                      <a:r>
                        <a:rPr sz="800">
                          <a:latin typeface="Nexa Bold"/>
                        </a:rPr>
                        <a:t>Dollar Shave Club (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9.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528735">
                <a:tc>
                  <a:txBody>
                    <a:bodyPr/>
                    <a:lstStyle/>
                    <a:p>
                      <a:pPr algn="ctr">
                        <a:defRPr sz="800">
                          <a:latin typeface="Nexa Bold"/>
                        </a:defRPr>
                      </a:pPr>
                      <a:r>
                        <a:rPr sz="800">
                          <a:latin typeface="Nexa Bold"/>
                        </a:rPr>
                        <a:t>Gillette (38.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528735">
                <a:tc>
                  <a:txBody>
                    <a:bodyPr/>
                    <a:lstStyle/>
                    <a:p>
                      <a:pPr algn="ctr">
                        <a:defRPr sz="800">
                          <a:latin typeface="Nexa Bold"/>
                        </a:defRPr>
                      </a:pPr>
                      <a:r>
                        <a:rPr sz="800">
                          <a:latin typeface="Nexa Bold"/>
                        </a:rPr>
                        <a:t>Bic (16.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528735">
                <a:tc>
                  <a:txBody>
                    <a:bodyPr/>
                    <a:lstStyle/>
                    <a:p>
                      <a:pPr algn="ctr">
                        <a:defRPr sz="800">
                          <a:latin typeface="Nexa Bold"/>
                        </a:defRPr>
                      </a:pPr>
                      <a:r>
                        <a:rPr sz="800">
                          <a:latin typeface="Nexa Bold"/>
                        </a:rPr>
                        <a:t>Equate (2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528735">
                <a:tc>
                  <a:txBody>
                    <a:bodyPr/>
                    <a:lstStyle/>
                    <a:p>
                      <a:pPr algn="ctr">
                        <a:defRPr sz="800">
                          <a:latin typeface="Nexa Bold"/>
                        </a:defRPr>
                      </a:pPr>
                      <a:r>
                        <a:rPr sz="800">
                          <a:latin typeface="Nexa Bold"/>
                        </a:rPr>
                        <a:t>Schick (1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528735">
                <a:tc>
                  <a:txBody>
                    <a:bodyPr/>
                    <a:lstStyle/>
                    <a:p>
                      <a:pPr algn="ctr">
                        <a:defRPr sz="800">
                          <a:latin typeface="Nexa Bold"/>
                        </a:defRPr>
                      </a:pPr>
                      <a:r>
                        <a:rPr sz="800">
                          <a:latin typeface="Nexa Bold"/>
                        </a:rPr>
                        <a:t>Van Der Hagen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Harrys (11.2%)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8/1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313951911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3 Blade Ultra Sensitive 1 Handle + 4 Cartridges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0</a:t>
            </a:fld>
            <a:endParaRPr lang="en-US"/>
          </a:p>
        </p:txBody>
      </p:sp>
      <p:sp>
        <p:nvSpPr>
          <p:cNvPr id="22" name="Rectangle 21"/>
          <p:cNvSpPr/>
          <p:nvPr/>
        </p:nvSpPr>
        <p:spPr>
          <a:xfrm>
            <a:off x="97200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593720" y="1458000"/>
            <a:ext cx="3560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5154480" y="1458000"/>
            <a:ext cx="1469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55735304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3 Blade Pro Sensitive 1 Handle + 3 Cartridges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1</a:t>
            </a:fld>
            <a:endParaRPr lang="en-US"/>
          </a:p>
        </p:txBody>
      </p:sp>
      <p:sp>
        <p:nvSpPr>
          <p:cNvPr id="22" name="Rectangle 21"/>
          <p:cNvSpPr/>
          <p:nvPr/>
        </p:nvSpPr>
        <p:spPr>
          <a:xfrm>
            <a:off x="972000" y="1458000"/>
            <a:ext cx="3560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4532760" y="1458000"/>
            <a:ext cx="2091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48417669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3 Blade Ingrown Defense 1 Handle + 3 Cartridges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2</a:t>
            </a:fld>
            <a:endParaRPr lang="en-US"/>
          </a:p>
        </p:txBody>
      </p:sp>
      <p:sp>
        <p:nvSpPr>
          <p:cNvPr id="22" name="Rectangle 21"/>
          <p:cNvSpPr/>
          <p:nvPr/>
        </p:nvSpPr>
        <p:spPr>
          <a:xfrm>
            <a:off x="972000" y="1458000"/>
            <a:ext cx="322163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4193639" y="1458000"/>
            <a:ext cx="24303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07006872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Advanced Hydration 1 Handle + 3 Cartridges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3</a:t>
            </a:fld>
            <a:endParaRPr lang="en-US"/>
          </a:p>
        </p:txBody>
      </p:sp>
      <p:sp>
        <p:nvSpPr>
          <p:cNvPr id="22" name="Rectangle 21"/>
          <p:cNvSpPr/>
          <p:nvPr/>
        </p:nvSpPr>
        <p:spPr>
          <a:xfrm>
            <a:off x="972000" y="1458000"/>
            <a:ext cx="29955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967560" y="1458000"/>
            <a:ext cx="2656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80716690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Sensitive 1 Handle + 3 Cartridges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4</a:t>
            </a:fld>
            <a:endParaRPr lang="en-US"/>
          </a:p>
        </p:txBody>
      </p:sp>
      <p:sp>
        <p:nvSpPr>
          <p:cNvPr id="22" name="Rectangle 21"/>
          <p:cNvSpPr/>
          <p:nvPr/>
        </p:nvSpPr>
        <p:spPr>
          <a:xfrm>
            <a:off x="972000" y="1458000"/>
            <a:ext cx="2091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063240" y="1458000"/>
            <a:ext cx="3560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48682332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Sensitive 1 Handle + 5 Cartridges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5</a:t>
            </a:fld>
            <a:endParaRPr lang="en-US"/>
          </a:p>
        </p:txBody>
      </p:sp>
      <p:sp>
        <p:nvSpPr>
          <p:cNvPr id="22" name="Rectangle 21"/>
          <p:cNvSpPr/>
          <p:nvPr/>
        </p:nvSpPr>
        <p:spPr>
          <a:xfrm>
            <a:off x="972000" y="1458000"/>
            <a:ext cx="565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53720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1932840" y="1458000"/>
            <a:ext cx="1299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232800" y="1458000"/>
            <a:ext cx="3391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379904875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Sensitive 1 Handle + 8 Cartridges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6</a:t>
            </a:fld>
            <a:endParaRPr lang="en-US"/>
          </a:p>
        </p:txBody>
      </p:sp>
      <p:sp>
        <p:nvSpPr>
          <p:cNvPr id="22" name="Rectangle 21"/>
          <p:cNvSpPr/>
          <p:nvPr/>
        </p:nvSpPr>
        <p:spPr>
          <a:xfrm>
            <a:off x="972000" y="1458000"/>
            <a:ext cx="2147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119760" y="1458000"/>
            <a:ext cx="3504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415481419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Blade Chrome 1 Handle + 3 Cartridges + Docking Station/Stand + Travel Cover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7</a:t>
            </a:fld>
            <a:endParaRPr lang="en-US"/>
          </a:p>
        </p:txBody>
      </p:sp>
      <p:sp>
        <p:nvSpPr>
          <p:cNvPr id="22" name="Rectangle 21"/>
          <p:cNvSpPr/>
          <p:nvPr/>
        </p:nvSpPr>
        <p:spPr>
          <a:xfrm>
            <a:off x="972000" y="1458000"/>
            <a:ext cx="2147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3119760" y="1458000"/>
            <a:ext cx="3504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66115116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Hydro 5 Groomer 1 Handle + 1 Cartridge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8</a:t>
            </a:fld>
            <a:endParaRPr lang="en-US"/>
          </a:p>
        </p:txBody>
      </p:sp>
      <p:sp>
        <p:nvSpPr>
          <p:cNvPr id="22" name="Rectangle 21"/>
          <p:cNvSpPr/>
          <p:nvPr/>
        </p:nvSpPr>
        <p:spPr>
          <a:xfrm>
            <a:off x="972000" y="1458000"/>
            <a:ext cx="960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932840" y="1458000"/>
            <a:ext cx="12999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3232800" y="1458000"/>
            <a:ext cx="3391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214487819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Schick Quattro Four Blade 1 Handle + 4 Cartriges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8/1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9</a:t>
            </a:fld>
            <a:endParaRPr lang="en-US"/>
          </a:p>
        </p:txBody>
      </p:sp>
      <p:sp>
        <p:nvSpPr>
          <p:cNvPr id="22" name="Rectangle 21"/>
          <p:cNvSpPr/>
          <p:nvPr/>
        </p:nvSpPr>
        <p:spPr>
          <a:xfrm>
            <a:off x="972000" y="1458000"/>
            <a:ext cx="3560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4532760" y="1458000"/>
            <a:ext cx="2091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0967203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F8D7B908-B0DA-4AEE-8D52-892C7A4A76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18470</Words>
  <Application>Microsoft Office PowerPoint</Application>
  <PresentationFormat>On-screen Show (16:9)</PresentationFormat>
  <Paragraphs>4646</Paragraphs>
  <Slides>131</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31</vt:i4>
      </vt:variant>
    </vt:vector>
  </HeadingPairs>
  <TitlesOfParts>
    <vt:vector size="142" baseType="lpstr">
      <vt:lpstr>Aptos</vt:lpstr>
      <vt:lpstr>Arial</vt:lpstr>
      <vt:lpstr>Cambria Math</vt:lpstr>
      <vt:lpstr>Nexa</vt:lpstr>
      <vt:lpstr>Nexa Bold</vt:lpstr>
      <vt:lpstr>Nexa Book</vt:lpstr>
      <vt:lpstr>Nexa Book Italic</vt:lpstr>
      <vt:lpstr>Open Sans</vt:lpstr>
      <vt:lpstr>PricingOne Light Template Oct 2024</vt:lpstr>
      <vt:lpstr>1_PricingOne</vt:lpstr>
      <vt:lpstr>think-cell Slide</vt:lpstr>
      <vt:lpstr>Brand Elasticity Analysis (Replace with SO WHAT)</vt:lpstr>
      <vt:lpstr>Brand Elasticity Analysis (Replace with SO WHAT)</vt:lpstr>
      <vt:lpstr>Brand Elasticity Analysis (Replace with SO WHAT)</vt:lpstr>
      <vt:lpstr>Brand Elasticity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SE Slide (Replace with So What)</vt:lpstr>
      <vt:lpstr>SE Slide (Replace with So What)</vt:lpstr>
      <vt:lpstr>SE Slide (Replace with So What)</vt:lpstr>
      <vt:lpstr>SE Slide (Replace with So What)</vt:lpstr>
      <vt:lpstr>SE Slid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6</cp:revision>
  <dcterms:created xsi:type="dcterms:W3CDTF">2024-07-08T12:09:12Z</dcterms:created>
  <dcterms:modified xsi:type="dcterms:W3CDTF">2025-08-15T08:4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